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3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4" r:id="rId5"/>
    <p:sldMasterId id="2147483689" r:id="rId6"/>
  </p:sldMasterIdLst>
  <p:sldIdLst>
    <p:sldId id="2146845380" r:id="rId7"/>
    <p:sldId id="2146845392" r:id="rId8"/>
    <p:sldId id="2146845383" r:id="rId9"/>
    <p:sldId id="2146845387" r:id="rId10"/>
    <p:sldId id="2146845390" r:id="rId11"/>
    <p:sldId id="2146845377" r:id="rId12"/>
    <p:sldId id="2146845398" r:id="rId13"/>
    <p:sldId id="2146845401" r:id="rId14"/>
    <p:sldId id="2146845397" r:id="rId15"/>
    <p:sldId id="2146845393" r:id="rId16"/>
    <p:sldId id="2146845395" r:id="rId17"/>
    <p:sldId id="2146845381" r:id="rId18"/>
    <p:sldId id="2146845394" r:id="rId19"/>
    <p:sldId id="2146845396" r:id="rId20"/>
    <p:sldId id="2146845388" r:id="rId21"/>
    <p:sldId id="2146845391" r:id="rId22"/>
    <p:sldId id="2146845389" r:id="rId23"/>
    <p:sldId id="2146845399" r:id="rId2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areth Allott" initials="GA" lastIdx="1" clrIdx="0">
    <p:extLst>
      <p:ext uri="{19B8F6BF-5375-455C-9EA6-DF929625EA0E}">
        <p15:presenceInfo xmlns:p15="http://schemas.microsoft.com/office/powerpoint/2012/main" userId="S::gareth.allott@veeva.com::d67bc1e7-5e6e-4540-bcf9-468a02f7a83e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85858"/>
    <a:srgbClr val="8CA509"/>
    <a:srgbClr val="A156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3C83929-70DB-46AC-846C-28C43116D9C0}" v="1496" dt="2021-03-26T16:12:50.42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7524" autoAdjust="0"/>
    <p:restoredTop sz="96327"/>
  </p:normalViewPr>
  <p:slideViewPr>
    <p:cSldViewPr snapToGrid="0">
      <p:cViewPr varScale="1">
        <p:scale>
          <a:sx n="124" d="100"/>
          <a:sy n="124" d="100"/>
        </p:scale>
        <p:origin x="1056" y="1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theme" Target="theme/theme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viewProps" Target="viewProps.xml"/><Relationship Id="rId30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areth Allott" userId="d67bc1e7-5e6e-4540-bcf9-468a02f7a83e" providerId="ADAL" clId="{73C83929-70DB-46AC-846C-28C43116D9C0}"/>
    <pc:docChg chg="undo redo custSel addSld delSld modSld sldOrd modMainMaster">
      <pc:chgData name="Gareth Allott" userId="d67bc1e7-5e6e-4540-bcf9-468a02f7a83e" providerId="ADAL" clId="{73C83929-70DB-46AC-846C-28C43116D9C0}" dt="2021-03-26T16:13:49.162" v="6195" actId="47"/>
      <pc:docMkLst>
        <pc:docMk/>
      </pc:docMkLst>
      <pc:sldChg chg="addSp delSp modSp mod">
        <pc:chgData name="Gareth Allott" userId="d67bc1e7-5e6e-4540-bcf9-468a02f7a83e" providerId="ADAL" clId="{73C83929-70DB-46AC-846C-28C43116D9C0}" dt="2021-03-26T13:47:35.907" v="6188" actId="478"/>
        <pc:sldMkLst>
          <pc:docMk/>
          <pc:sldMk cId="2302360611" sldId="2146845377"/>
        </pc:sldMkLst>
        <pc:spChg chg="add del mod">
          <ac:chgData name="Gareth Allott" userId="d67bc1e7-5e6e-4540-bcf9-468a02f7a83e" providerId="ADAL" clId="{73C83929-70DB-46AC-846C-28C43116D9C0}" dt="2021-03-26T13:47:35.907" v="6188" actId="478"/>
          <ac:spMkLst>
            <pc:docMk/>
            <pc:sldMk cId="2302360611" sldId="2146845377"/>
            <ac:spMk id="20" creationId="{74F23349-C603-4F4A-84C5-2B44D05D9B5A}"/>
          </ac:spMkLst>
        </pc:spChg>
      </pc:sldChg>
      <pc:sldChg chg="modTransition">
        <pc:chgData name="Gareth Allott" userId="d67bc1e7-5e6e-4540-bcf9-468a02f7a83e" providerId="ADAL" clId="{73C83929-70DB-46AC-846C-28C43116D9C0}" dt="2021-03-25T15:38:59.641" v="1718"/>
        <pc:sldMkLst>
          <pc:docMk/>
          <pc:sldMk cId="636563377" sldId="2146845380"/>
        </pc:sldMkLst>
      </pc:sldChg>
      <pc:sldChg chg="addSp delSp modSp new mod ord modTransition modClrScheme chgLayout">
        <pc:chgData name="Gareth Allott" userId="d67bc1e7-5e6e-4540-bcf9-468a02f7a83e" providerId="ADAL" clId="{73C83929-70DB-46AC-846C-28C43116D9C0}" dt="2021-03-26T11:32:59.097" v="4511" actId="20577"/>
        <pc:sldMkLst>
          <pc:docMk/>
          <pc:sldMk cId="4042398096" sldId="2146845381"/>
        </pc:sldMkLst>
        <pc:spChg chg="add del mod">
          <ac:chgData name="Gareth Allott" userId="d67bc1e7-5e6e-4540-bcf9-468a02f7a83e" providerId="ADAL" clId="{73C83929-70DB-46AC-846C-28C43116D9C0}" dt="2021-03-25T14:36:55.507" v="16" actId="700"/>
          <ac:spMkLst>
            <pc:docMk/>
            <pc:sldMk cId="4042398096" sldId="2146845381"/>
            <ac:spMk id="2" creationId="{70129515-4641-4AD1-8392-55DAA2B9B73E}"/>
          </ac:spMkLst>
        </pc:spChg>
        <pc:spChg chg="add del">
          <ac:chgData name="Gareth Allott" userId="d67bc1e7-5e6e-4540-bcf9-468a02f7a83e" providerId="ADAL" clId="{73C83929-70DB-46AC-846C-28C43116D9C0}" dt="2021-03-25T14:38:12.626" v="24" actId="21"/>
          <ac:spMkLst>
            <pc:docMk/>
            <pc:sldMk cId="4042398096" sldId="2146845381"/>
            <ac:spMk id="3" creationId="{0CD694EE-22D9-4F5E-913B-EE589DECF691}"/>
          </ac:spMkLst>
        </pc:spChg>
        <pc:spChg chg="add mod">
          <ac:chgData name="Gareth Allott" userId="d67bc1e7-5e6e-4540-bcf9-468a02f7a83e" providerId="ADAL" clId="{73C83929-70DB-46AC-846C-28C43116D9C0}" dt="2021-03-26T11:32:55.586" v="4507" actId="20577"/>
          <ac:spMkLst>
            <pc:docMk/>
            <pc:sldMk cId="4042398096" sldId="2146845381"/>
            <ac:spMk id="5" creationId="{DE226D76-DFDC-493D-BC2A-95A0A748F140}"/>
          </ac:spMkLst>
        </pc:spChg>
        <pc:spChg chg="add mod">
          <ac:chgData name="Gareth Allott" userId="d67bc1e7-5e6e-4540-bcf9-468a02f7a83e" providerId="ADAL" clId="{73C83929-70DB-46AC-846C-28C43116D9C0}" dt="2021-03-26T11:32:59.097" v="4511" actId="20577"/>
          <ac:spMkLst>
            <pc:docMk/>
            <pc:sldMk cId="4042398096" sldId="2146845381"/>
            <ac:spMk id="6" creationId="{ECE7C206-623B-4EC4-A2AB-386E2D02627B}"/>
          </ac:spMkLst>
        </pc:spChg>
        <pc:spChg chg="add del mod">
          <ac:chgData name="Gareth Allott" userId="d67bc1e7-5e6e-4540-bcf9-468a02f7a83e" providerId="ADAL" clId="{73C83929-70DB-46AC-846C-28C43116D9C0}" dt="2021-03-25T14:46:53.315" v="449" actId="478"/>
          <ac:spMkLst>
            <pc:docMk/>
            <pc:sldMk cId="4042398096" sldId="2146845381"/>
            <ac:spMk id="7" creationId="{8A15E7C9-6B30-4EA4-9F0C-922F74302E45}"/>
          </ac:spMkLst>
        </pc:spChg>
        <pc:spChg chg="add del mod">
          <ac:chgData name="Gareth Allott" userId="d67bc1e7-5e6e-4540-bcf9-468a02f7a83e" providerId="ADAL" clId="{73C83929-70DB-46AC-846C-28C43116D9C0}" dt="2021-03-25T14:46:52.846" v="448" actId="478"/>
          <ac:spMkLst>
            <pc:docMk/>
            <pc:sldMk cId="4042398096" sldId="2146845381"/>
            <ac:spMk id="8" creationId="{A3CF25F4-0170-40EA-B54A-8B80B91A6B51}"/>
          </ac:spMkLst>
        </pc:spChg>
        <pc:spChg chg="add mod">
          <ac:chgData name="Gareth Allott" userId="d67bc1e7-5e6e-4540-bcf9-468a02f7a83e" providerId="ADAL" clId="{73C83929-70DB-46AC-846C-28C43116D9C0}" dt="2021-03-25T14:46:42.118" v="437" actId="404"/>
          <ac:spMkLst>
            <pc:docMk/>
            <pc:sldMk cId="4042398096" sldId="2146845381"/>
            <ac:spMk id="10" creationId="{C0D9D066-2FC7-4081-9876-23A13E2FFEC1}"/>
          </ac:spMkLst>
        </pc:spChg>
        <pc:spChg chg="add mod">
          <ac:chgData name="Gareth Allott" userId="d67bc1e7-5e6e-4540-bcf9-468a02f7a83e" providerId="ADAL" clId="{73C83929-70DB-46AC-846C-28C43116D9C0}" dt="2021-03-25T15:18:21.732" v="989"/>
          <ac:spMkLst>
            <pc:docMk/>
            <pc:sldMk cId="4042398096" sldId="2146845381"/>
            <ac:spMk id="11" creationId="{0EF9AF84-5726-40D1-ADC3-7A2A5FC3C1FA}"/>
          </ac:spMkLst>
        </pc:spChg>
        <pc:spChg chg="add del mod">
          <ac:chgData name="Gareth Allott" userId="d67bc1e7-5e6e-4540-bcf9-468a02f7a83e" providerId="ADAL" clId="{73C83929-70DB-46AC-846C-28C43116D9C0}" dt="2021-03-25T14:48:55.479" v="464" actId="478"/>
          <ac:spMkLst>
            <pc:docMk/>
            <pc:sldMk cId="4042398096" sldId="2146845381"/>
            <ac:spMk id="12" creationId="{5794F5B5-ECD0-4731-B040-AA9B556EC3FD}"/>
          </ac:spMkLst>
        </pc:spChg>
        <pc:spChg chg="add del mod">
          <ac:chgData name="Gareth Allott" userId="d67bc1e7-5e6e-4540-bcf9-468a02f7a83e" providerId="ADAL" clId="{73C83929-70DB-46AC-846C-28C43116D9C0}" dt="2021-03-25T14:50:13.942" v="486" actId="478"/>
          <ac:spMkLst>
            <pc:docMk/>
            <pc:sldMk cId="4042398096" sldId="2146845381"/>
            <ac:spMk id="13" creationId="{DE741E46-DA28-4768-8B17-61DBF31C8ED0}"/>
          </ac:spMkLst>
        </pc:spChg>
        <pc:spChg chg="add del mod">
          <ac:chgData name="Gareth Allott" userId="d67bc1e7-5e6e-4540-bcf9-468a02f7a83e" providerId="ADAL" clId="{73C83929-70DB-46AC-846C-28C43116D9C0}" dt="2021-03-25T14:49:22.780" v="484" actId="478"/>
          <ac:spMkLst>
            <pc:docMk/>
            <pc:sldMk cId="4042398096" sldId="2146845381"/>
            <ac:spMk id="14" creationId="{72FE5708-F693-429C-949F-1555003773C7}"/>
          </ac:spMkLst>
        </pc:spChg>
        <pc:spChg chg="add mod">
          <ac:chgData name="Gareth Allott" userId="d67bc1e7-5e6e-4540-bcf9-468a02f7a83e" providerId="ADAL" clId="{73C83929-70DB-46AC-846C-28C43116D9C0}" dt="2021-03-25T14:50:27.747" v="488" actId="14100"/>
          <ac:spMkLst>
            <pc:docMk/>
            <pc:sldMk cId="4042398096" sldId="2146845381"/>
            <ac:spMk id="16" creationId="{8697FD9D-49DE-47A0-9A2D-09BEB025AACA}"/>
          </ac:spMkLst>
        </pc:spChg>
        <pc:spChg chg="add mod">
          <ac:chgData name="Gareth Allott" userId="d67bc1e7-5e6e-4540-bcf9-468a02f7a83e" providerId="ADAL" clId="{73C83929-70DB-46AC-846C-28C43116D9C0}" dt="2021-03-25T15:04:54.683" v="550" actId="1076"/>
          <ac:spMkLst>
            <pc:docMk/>
            <pc:sldMk cId="4042398096" sldId="2146845381"/>
            <ac:spMk id="17" creationId="{9F07A1A9-AEB7-4965-861A-C08513ADA4D1}"/>
          </ac:spMkLst>
        </pc:spChg>
        <pc:spChg chg="add mod">
          <ac:chgData name="Gareth Allott" userId="d67bc1e7-5e6e-4540-bcf9-468a02f7a83e" providerId="ADAL" clId="{73C83929-70DB-46AC-846C-28C43116D9C0}" dt="2021-03-25T14:56:56.891" v="548" actId="207"/>
          <ac:spMkLst>
            <pc:docMk/>
            <pc:sldMk cId="4042398096" sldId="2146845381"/>
            <ac:spMk id="20" creationId="{681A9C92-0FC8-46B0-8542-7A7ADC301AB7}"/>
          </ac:spMkLst>
        </pc:spChg>
        <pc:spChg chg="add del mod">
          <ac:chgData name="Gareth Allott" userId="d67bc1e7-5e6e-4540-bcf9-468a02f7a83e" providerId="ADAL" clId="{73C83929-70DB-46AC-846C-28C43116D9C0}" dt="2021-03-25T15:39:08.973" v="1720" actId="21"/>
          <ac:spMkLst>
            <pc:docMk/>
            <pc:sldMk cId="4042398096" sldId="2146845381"/>
            <ac:spMk id="21" creationId="{D5EC4ACA-AD91-4640-80C9-57C0E290A8D5}"/>
          </ac:spMkLst>
        </pc:spChg>
        <pc:spChg chg="add del mod">
          <ac:chgData name="Gareth Allott" userId="d67bc1e7-5e6e-4540-bcf9-468a02f7a83e" providerId="ADAL" clId="{73C83929-70DB-46AC-846C-28C43116D9C0}" dt="2021-03-25T15:39:08.973" v="1720" actId="21"/>
          <ac:spMkLst>
            <pc:docMk/>
            <pc:sldMk cId="4042398096" sldId="2146845381"/>
            <ac:spMk id="22" creationId="{7DBA80EA-8636-46AF-AB4F-8144EB03A5CD}"/>
          </ac:spMkLst>
        </pc:spChg>
        <pc:spChg chg="add del mod">
          <ac:chgData name="Gareth Allott" userId="d67bc1e7-5e6e-4540-bcf9-468a02f7a83e" providerId="ADAL" clId="{73C83929-70DB-46AC-846C-28C43116D9C0}" dt="2021-03-25T15:39:08.973" v="1720" actId="21"/>
          <ac:spMkLst>
            <pc:docMk/>
            <pc:sldMk cId="4042398096" sldId="2146845381"/>
            <ac:spMk id="23" creationId="{AD1183A4-12E6-48A9-954D-97F53B69475B}"/>
          </ac:spMkLst>
        </pc:spChg>
        <pc:spChg chg="add del mod">
          <ac:chgData name="Gareth Allott" userId="d67bc1e7-5e6e-4540-bcf9-468a02f7a83e" providerId="ADAL" clId="{73C83929-70DB-46AC-846C-28C43116D9C0}" dt="2021-03-25T15:07:42.355" v="698" actId="478"/>
          <ac:spMkLst>
            <pc:docMk/>
            <pc:sldMk cId="4042398096" sldId="2146845381"/>
            <ac:spMk id="24" creationId="{D90DD1D9-7D67-4A1E-8CCD-CC40061D7A9B}"/>
          </ac:spMkLst>
        </pc:spChg>
        <pc:spChg chg="add del mod">
          <ac:chgData name="Gareth Allott" userId="d67bc1e7-5e6e-4540-bcf9-468a02f7a83e" providerId="ADAL" clId="{73C83929-70DB-46AC-846C-28C43116D9C0}" dt="2021-03-25T15:39:08.973" v="1720" actId="21"/>
          <ac:spMkLst>
            <pc:docMk/>
            <pc:sldMk cId="4042398096" sldId="2146845381"/>
            <ac:spMk id="30" creationId="{907DB02E-E3DB-4B20-9297-E0658F938352}"/>
          </ac:spMkLst>
        </pc:spChg>
        <pc:spChg chg="add del mod">
          <ac:chgData name="Gareth Allott" userId="d67bc1e7-5e6e-4540-bcf9-468a02f7a83e" providerId="ADAL" clId="{73C83929-70DB-46AC-846C-28C43116D9C0}" dt="2021-03-25T15:39:08.973" v="1720" actId="21"/>
          <ac:spMkLst>
            <pc:docMk/>
            <pc:sldMk cId="4042398096" sldId="2146845381"/>
            <ac:spMk id="33" creationId="{2D5F6816-D8D1-405D-BC21-896FB6F24BD3}"/>
          </ac:spMkLst>
        </pc:spChg>
        <pc:spChg chg="add del mod">
          <ac:chgData name="Gareth Allott" userId="d67bc1e7-5e6e-4540-bcf9-468a02f7a83e" providerId="ADAL" clId="{73C83929-70DB-46AC-846C-28C43116D9C0}" dt="2021-03-25T15:39:08.973" v="1720" actId="21"/>
          <ac:spMkLst>
            <pc:docMk/>
            <pc:sldMk cId="4042398096" sldId="2146845381"/>
            <ac:spMk id="35" creationId="{23AF11C3-2B49-4FB7-B1BC-5DB18F9A835B}"/>
          </ac:spMkLst>
        </pc:spChg>
        <pc:spChg chg="add mod">
          <ac:chgData name="Gareth Allott" userId="d67bc1e7-5e6e-4540-bcf9-468a02f7a83e" providerId="ADAL" clId="{73C83929-70DB-46AC-846C-28C43116D9C0}" dt="2021-03-25T15:25:11.994" v="1297" actId="571"/>
          <ac:spMkLst>
            <pc:docMk/>
            <pc:sldMk cId="4042398096" sldId="2146845381"/>
            <ac:spMk id="38" creationId="{C6D893DC-C67F-4014-A443-A70FB6D7672F}"/>
          </ac:spMkLst>
        </pc:spChg>
        <pc:spChg chg="add mod">
          <ac:chgData name="Gareth Allott" userId="d67bc1e7-5e6e-4540-bcf9-468a02f7a83e" providerId="ADAL" clId="{73C83929-70DB-46AC-846C-28C43116D9C0}" dt="2021-03-25T15:25:11.994" v="1297" actId="571"/>
          <ac:spMkLst>
            <pc:docMk/>
            <pc:sldMk cId="4042398096" sldId="2146845381"/>
            <ac:spMk id="39" creationId="{59313E9B-1B3E-4944-A978-737E5BC369DB}"/>
          </ac:spMkLst>
        </pc:spChg>
        <pc:spChg chg="add mod">
          <ac:chgData name="Gareth Allott" userId="d67bc1e7-5e6e-4540-bcf9-468a02f7a83e" providerId="ADAL" clId="{73C83929-70DB-46AC-846C-28C43116D9C0}" dt="2021-03-25T15:25:11.994" v="1297" actId="571"/>
          <ac:spMkLst>
            <pc:docMk/>
            <pc:sldMk cId="4042398096" sldId="2146845381"/>
            <ac:spMk id="40" creationId="{91A92980-2F72-43F4-9430-8BC20948A3C7}"/>
          </ac:spMkLst>
        </pc:spChg>
        <pc:spChg chg="add mod">
          <ac:chgData name="Gareth Allott" userId="d67bc1e7-5e6e-4540-bcf9-468a02f7a83e" providerId="ADAL" clId="{73C83929-70DB-46AC-846C-28C43116D9C0}" dt="2021-03-25T15:25:11.994" v="1297" actId="571"/>
          <ac:spMkLst>
            <pc:docMk/>
            <pc:sldMk cId="4042398096" sldId="2146845381"/>
            <ac:spMk id="44" creationId="{894681D8-C8FA-41DF-9F60-6FDACFF7ADE2}"/>
          </ac:spMkLst>
        </pc:spChg>
        <pc:spChg chg="add mod">
          <ac:chgData name="Gareth Allott" userId="d67bc1e7-5e6e-4540-bcf9-468a02f7a83e" providerId="ADAL" clId="{73C83929-70DB-46AC-846C-28C43116D9C0}" dt="2021-03-25T15:25:11.994" v="1297" actId="571"/>
          <ac:spMkLst>
            <pc:docMk/>
            <pc:sldMk cId="4042398096" sldId="2146845381"/>
            <ac:spMk id="46" creationId="{799C8390-7045-4E18-A086-AAC8CA77B6D0}"/>
          </ac:spMkLst>
        </pc:spChg>
        <pc:spChg chg="add mod">
          <ac:chgData name="Gareth Allott" userId="d67bc1e7-5e6e-4540-bcf9-468a02f7a83e" providerId="ADAL" clId="{73C83929-70DB-46AC-846C-28C43116D9C0}" dt="2021-03-25T15:25:11.994" v="1297" actId="571"/>
          <ac:spMkLst>
            <pc:docMk/>
            <pc:sldMk cId="4042398096" sldId="2146845381"/>
            <ac:spMk id="47" creationId="{85162B27-6520-40CD-A41D-D7EF27BB14F2}"/>
          </ac:spMkLst>
        </pc:spChg>
        <pc:spChg chg="add mod">
          <ac:chgData name="Gareth Allott" userId="d67bc1e7-5e6e-4540-bcf9-468a02f7a83e" providerId="ADAL" clId="{73C83929-70DB-46AC-846C-28C43116D9C0}" dt="2021-03-25T15:25:09.731" v="1294" actId="571"/>
          <ac:spMkLst>
            <pc:docMk/>
            <pc:sldMk cId="4042398096" sldId="2146845381"/>
            <ac:spMk id="52" creationId="{49976F92-70CD-485D-A2FD-BDEE8D078A1D}"/>
          </ac:spMkLst>
        </pc:spChg>
        <pc:spChg chg="add mod">
          <ac:chgData name="Gareth Allott" userId="d67bc1e7-5e6e-4540-bcf9-468a02f7a83e" providerId="ADAL" clId="{73C83929-70DB-46AC-846C-28C43116D9C0}" dt="2021-03-25T15:25:09.731" v="1294" actId="571"/>
          <ac:spMkLst>
            <pc:docMk/>
            <pc:sldMk cId="4042398096" sldId="2146845381"/>
            <ac:spMk id="53" creationId="{2FD0B14F-C5A3-4AEC-B5DB-93261A6336B9}"/>
          </ac:spMkLst>
        </pc:spChg>
        <pc:spChg chg="add mod">
          <ac:chgData name="Gareth Allott" userId="d67bc1e7-5e6e-4540-bcf9-468a02f7a83e" providerId="ADAL" clId="{73C83929-70DB-46AC-846C-28C43116D9C0}" dt="2021-03-25T15:25:09.731" v="1294" actId="571"/>
          <ac:spMkLst>
            <pc:docMk/>
            <pc:sldMk cId="4042398096" sldId="2146845381"/>
            <ac:spMk id="54" creationId="{12920D45-D277-44C9-A665-8C1C3D81586A}"/>
          </ac:spMkLst>
        </pc:spChg>
        <pc:spChg chg="add mod">
          <ac:chgData name="Gareth Allott" userId="d67bc1e7-5e6e-4540-bcf9-468a02f7a83e" providerId="ADAL" clId="{73C83929-70DB-46AC-846C-28C43116D9C0}" dt="2021-03-25T15:25:09.731" v="1294" actId="571"/>
          <ac:spMkLst>
            <pc:docMk/>
            <pc:sldMk cId="4042398096" sldId="2146845381"/>
            <ac:spMk id="58" creationId="{3A9B295D-5E6C-4385-A9FA-B8FC9547DAFD}"/>
          </ac:spMkLst>
        </pc:spChg>
        <pc:spChg chg="add mod">
          <ac:chgData name="Gareth Allott" userId="d67bc1e7-5e6e-4540-bcf9-468a02f7a83e" providerId="ADAL" clId="{73C83929-70DB-46AC-846C-28C43116D9C0}" dt="2021-03-25T15:25:09.731" v="1294" actId="571"/>
          <ac:spMkLst>
            <pc:docMk/>
            <pc:sldMk cId="4042398096" sldId="2146845381"/>
            <ac:spMk id="60" creationId="{632554DB-2D21-41E8-A62F-2C81AA0FD8EC}"/>
          </ac:spMkLst>
        </pc:spChg>
        <pc:spChg chg="add mod">
          <ac:chgData name="Gareth Allott" userId="d67bc1e7-5e6e-4540-bcf9-468a02f7a83e" providerId="ADAL" clId="{73C83929-70DB-46AC-846C-28C43116D9C0}" dt="2021-03-25T15:25:09.731" v="1294" actId="571"/>
          <ac:spMkLst>
            <pc:docMk/>
            <pc:sldMk cId="4042398096" sldId="2146845381"/>
            <ac:spMk id="61" creationId="{2BCB50CA-6AAD-4825-8342-5A46ABA2D2CB}"/>
          </ac:spMkLst>
        </pc:spChg>
        <pc:spChg chg="add mod">
          <ac:chgData name="Gareth Allott" userId="d67bc1e7-5e6e-4540-bcf9-468a02f7a83e" providerId="ADAL" clId="{73C83929-70DB-46AC-846C-28C43116D9C0}" dt="2021-03-25T15:25:09.156" v="1293" actId="571"/>
          <ac:spMkLst>
            <pc:docMk/>
            <pc:sldMk cId="4042398096" sldId="2146845381"/>
            <ac:spMk id="63" creationId="{192F50B7-FB64-4131-AC6A-BC6F417A0644}"/>
          </ac:spMkLst>
        </pc:spChg>
        <pc:spChg chg="add mod">
          <ac:chgData name="Gareth Allott" userId="d67bc1e7-5e6e-4540-bcf9-468a02f7a83e" providerId="ADAL" clId="{73C83929-70DB-46AC-846C-28C43116D9C0}" dt="2021-03-25T15:25:09.156" v="1293" actId="571"/>
          <ac:spMkLst>
            <pc:docMk/>
            <pc:sldMk cId="4042398096" sldId="2146845381"/>
            <ac:spMk id="64" creationId="{110159E3-D3D9-4B1D-8BEF-B6D848C4D652}"/>
          </ac:spMkLst>
        </pc:spChg>
        <pc:spChg chg="add mod">
          <ac:chgData name="Gareth Allott" userId="d67bc1e7-5e6e-4540-bcf9-468a02f7a83e" providerId="ADAL" clId="{73C83929-70DB-46AC-846C-28C43116D9C0}" dt="2021-03-25T15:25:09.156" v="1293" actId="571"/>
          <ac:spMkLst>
            <pc:docMk/>
            <pc:sldMk cId="4042398096" sldId="2146845381"/>
            <ac:spMk id="65" creationId="{B54B3719-E207-4668-934E-791F2CE6AA45}"/>
          </ac:spMkLst>
        </pc:spChg>
        <pc:spChg chg="add mod">
          <ac:chgData name="Gareth Allott" userId="d67bc1e7-5e6e-4540-bcf9-468a02f7a83e" providerId="ADAL" clId="{73C83929-70DB-46AC-846C-28C43116D9C0}" dt="2021-03-25T15:25:09.156" v="1293" actId="571"/>
          <ac:spMkLst>
            <pc:docMk/>
            <pc:sldMk cId="4042398096" sldId="2146845381"/>
            <ac:spMk id="69" creationId="{E5D015C9-9C3C-487E-8960-0E0E8DEEBA2E}"/>
          </ac:spMkLst>
        </pc:spChg>
        <pc:spChg chg="add mod">
          <ac:chgData name="Gareth Allott" userId="d67bc1e7-5e6e-4540-bcf9-468a02f7a83e" providerId="ADAL" clId="{73C83929-70DB-46AC-846C-28C43116D9C0}" dt="2021-03-25T15:25:09.156" v="1293" actId="571"/>
          <ac:spMkLst>
            <pc:docMk/>
            <pc:sldMk cId="4042398096" sldId="2146845381"/>
            <ac:spMk id="71" creationId="{5649810A-A299-493F-A89A-3EBE49DE28BF}"/>
          </ac:spMkLst>
        </pc:spChg>
        <pc:spChg chg="add mod">
          <ac:chgData name="Gareth Allott" userId="d67bc1e7-5e6e-4540-bcf9-468a02f7a83e" providerId="ADAL" clId="{73C83929-70DB-46AC-846C-28C43116D9C0}" dt="2021-03-25T15:25:09.156" v="1293" actId="571"/>
          <ac:spMkLst>
            <pc:docMk/>
            <pc:sldMk cId="4042398096" sldId="2146845381"/>
            <ac:spMk id="72" creationId="{E40276FF-9F2D-4D10-9E26-9727E79987A0}"/>
          </ac:spMkLst>
        </pc:spChg>
        <pc:spChg chg="add mod">
          <ac:chgData name="Gareth Allott" userId="d67bc1e7-5e6e-4540-bcf9-468a02f7a83e" providerId="ADAL" clId="{73C83929-70DB-46AC-846C-28C43116D9C0}" dt="2021-03-26T11:23:08.435" v="4041" actId="1076"/>
          <ac:spMkLst>
            <pc:docMk/>
            <pc:sldMk cId="4042398096" sldId="2146845381"/>
            <ac:spMk id="74" creationId="{CF50AA5F-96BC-485B-A81E-E0C5E36E80AF}"/>
          </ac:spMkLst>
        </pc:spChg>
        <pc:spChg chg="add mod">
          <ac:chgData name="Gareth Allott" userId="d67bc1e7-5e6e-4540-bcf9-468a02f7a83e" providerId="ADAL" clId="{73C83929-70DB-46AC-846C-28C43116D9C0}" dt="2021-03-26T11:23:08.435" v="4041" actId="1076"/>
          <ac:spMkLst>
            <pc:docMk/>
            <pc:sldMk cId="4042398096" sldId="2146845381"/>
            <ac:spMk id="75" creationId="{31213884-41E1-426A-933F-51F6C448EF42}"/>
          </ac:spMkLst>
        </pc:spChg>
        <pc:spChg chg="add mod">
          <ac:chgData name="Gareth Allott" userId="d67bc1e7-5e6e-4540-bcf9-468a02f7a83e" providerId="ADAL" clId="{73C83929-70DB-46AC-846C-28C43116D9C0}" dt="2021-03-26T11:23:08.435" v="4041" actId="1076"/>
          <ac:spMkLst>
            <pc:docMk/>
            <pc:sldMk cId="4042398096" sldId="2146845381"/>
            <ac:spMk id="76" creationId="{F35B057C-F3A3-4F22-AB2B-1CC9F004B2A3}"/>
          </ac:spMkLst>
        </pc:spChg>
        <pc:spChg chg="add mod">
          <ac:chgData name="Gareth Allott" userId="d67bc1e7-5e6e-4540-bcf9-468a02f7a83e" providerId="ADAL" clId="{73C83929-70DB-46AC-846C-28C43116D9C0}" dt="2021-03-26T11:23:08.435" v="4041" actId="1076"/>
          <ac:spMkLst>
            <pc:docMk/>
            <pc:sldMk cId="4042398096" sldId="2146845381"/>
            <ac:spMk id="80" creationId="{02CBDA2C-822E-434D-BE85-2C3CCFCD8027}"/>
          </ac:spMkLst>
        </pc:spChg>
        <pc:spChg chg="add mod">
          <ac:chgData name="Gareth Allott" userId="d67bc1e7-5e6e-4540-bcf9-468a02f7a83e" providerId="ADAL" clId="{73C83929-70DB-46AC-846C-28C43116D9C0}" dt="2021-03-26T11:23:08.435" v="4041" actId="1076"/>
          <ac:spMkLst>
            <pc:docMk/>
            <pc:sldMk cId="4042398096" sldId="2146845381"/>
            <ac:spMk id="82" creationId="{4221E554-3F47-4704-880D-3D914EE0AE73}"/>
          </ac:spMkLst>
        </pc:spChg>
        <pc:spChg chg="add mod">
          <ac:chgData name="Gareth Allott" userId="d67bc1e7-5e6e-4540-bcf9-468a02f7a83e" providerId="ADAL" clId="{73C83929-70DB-46AC-846C-28C43116D9C0}" dt="2021-03-26T11:23:08.435" v="4041" actId="1076"/>
          <ac:spMkLst>
            <pc:docMk/>
            <pc:sldMk cId="4042398096" sldId="2146845381"/>
            <ac:spMk id="83" creationId="{ED2297F6-10CC-49C2-80A2-0B050A9BEA47}"/>
          </ac:spMkLst>
        </pc:spChg>
        <pc:spChg chg="add del mod">
          <ac:chgData name="Gareth Allott" userId="d67bc1e7-5e6e-4540-bcf9-468a02f7a83e" providerId="ADAL" clId="{73C83929-70DB-46AC-846C-28C43116D9C0}" dt="2021-03-26T09:30:03.819" v="2523" actId="478"/>
          <ac:spMkLst>
            <pc:docMk/>
            <pc:sldMk cId="4042398096" sldId="2146845381"/>
            <ac:spMk id="88" creationId="{362976C8-E2AB-48C8-8B18-6FA09A7A0527}"/>
          </ac:spMkLst>
        </pc:spChg>
        <pc:spChg chg="add del mod">
          <ac:chgData name="Gareth Allott" userId="d67bc1e7-5e6e-4540-bcf9-468a02f7a83e" providerId="ADAL" clId="{73C83929-70DB-46AC-846C-28C43116D9C0}" dt="2021-03-26T09:30:03.819" v="2523" actId="478"/>
          <ac:spMkLst>
            <pc:docMk/>
            <pc:sldMk cId="4042398096" sldId="2146845381"/>
            <ac:spMk id="89" creationId="{44925980-0795-4500-A310-F7D270907B34}"/>
          </ac:spMkLst>
        </pc:spChg>
        <pc:spChg chg="add del mod">
          <ac:chgData name="Gareth Allott" userId="d67bc1e7-5e6e-4540-bcf9-468a02f7a83e" providerId="ADAL" clId="{73C83929-70DB-46AC-846C-28C43116D9C0}" dt="2021-03-26T09:30:03.819" v="2523" actId="478"/>
          <ac:spMkLst>
            <pc:docMk/>
            <pc:sldMk cId="4042398096" sldId="2146845381"/>
            <ac:spMk id="90" creationId="{225E1E6B-D81F-485E-A17E-2CAE99FEADB9}"/>
          </ac:spMkLst>
        </pc:spChg>
        <pc:spChg chg="add del mod">
          <ac:chgData name="Gareth Allott" userId="d67bc1e7-5e6e-4540-bcf9-468a02f7a83e" providerId="ADAL" clId="{73C83929-70DB-46AC-846C-28C43116D9C0}" dt="2021-03-26T09:30:03.819" v="2523" actId="478"/>
          <ac:spMkLst>
            <pc:docMk/>
            <pc:sldMk cId="4042398096" sldId="2146845381"/>
            <ac:spMk id="93" creationId="{9A78FEA9-60DA-47AF-A393-AE79E1FD2969}"/>
          </ac:spMkLst>
        </pc:spChg>
        <pc:spChg chg="add del mod">
          <ac:chgData name="Gareth Allott" userId="d67bc1e7-5e6e-4540-bcf9-468a02f7a83e" providerId="ADAL" clId="{73C83929-70DB-46AC-846C-28C43116D9C0}" dt="2021-03-26T09:30:03.819" v="2523" actId="478"/>
          <ac:spMkLst>
            <pc:docMk/>
            <pc:sldMk cId="4042398096" sldId="2146845381"/>
            <ac:spMk id="95" creationId="{AB5331A1-45A6-4F8E-A707-BCAA6B7191AA}"/>
          </ac:spMkLst>
        </pc:spChg>
        <pc:spChg chg="add del mod">
          <ac:chgData name="Gareth Allott" userId="d67bc1e7-5e6e-4540-bcf9-468a02f7a83e" providerId="ADAL" clId="{73C83929-70DB-46AC-846C-28C43116D9C0}" dt="2021-03-26T09:30:03.819" v="2523" actId="478"/>
          <ac:spMkLst>
            <pc:docMk/>
            <pc:sldMk cId="4042398096" sldId="2146845381"/>
            <ac:spMk id="96" creationId="{F8D6F579-27F6-4B1E-A7A1-A5CC12CCB875}"/>
          </ac:spMkLst>
        </pc:spChg>
        <pc:spChg chg="add del mod">
          <ac:chgData name="Gareth Allott" userId="d67bc1e7-5e6e-4540-bcf9-468a02f7a83e" providerId="ADAL" clId="{73C83929-70DB-46AC-846C-28C43116D9C0}" dt="2021-03-26T09:32:43.664" v="2630" actId="478"/>
          <ac:spMkLst>
            <pc:docMk/>
            <pc:sldMk cId="4042398096" sldId="2146845381"/>
            <ac:spMk id="105" creationId="{4ECCE7AC-E189-4D12-B6C1-72286EDF74DB}"/>
          </ac:spMkLst>
        </pc:spChg>
        <pc:spChg chg="add del mod">
          <ac:chgData name="Gareth Allott" userId="d67bc1e7-5e6e-4540-bcf9-468a02f7a83e" providerId="ADAL" clId="{73C83929-70DB-46AC-846C-28C43116D9C0}" dt="2021-03-26T09:32:43.664" v="2630" actId="478"/>
          <ac:spMkLst>
            <pc:docMk/>
            <pc:sldMk cId="4042398096" sldId="2146845381"/>
            <ac:spMk id="106" creationId="{61CD4543-338F-4DDB-A609-94FCE692F6F7}"/>
          </ac:spMkLst>
        </pc:spChg>
        <pc:spChg chg="add del mod">
          <ac:chgData name="Gareth Allott" userId="d67bc1e7-5e6e-4540-bcf9-468a02f7a83e" providerId="ADAL" clId="{73C83929-70DB-46AC-846C-28C43116D9C0}" dt="2021-03-26T09:32:43.664" v="2630" actId="478"/>
          <ac:spMkLst>
            <pc:docMk/>
            <pc:sldMk cId="4042398096" sldId="2146845381"/>
            <ac:spMk id="107" creationId="{7ACE979B-22D7-4BE4-BDCC-7F8EA47393C8}"/>
          </ac:spMkLst>
        </pc:spChg>
        <pc:spChg chg="add del mod">
          <ac:chgData name="Gareth Allott" userId="d67bc1e7-5e6e-4540-bcf9-468a02f7a83e" providerId="ADAL" clId="{73C83929-70DB-46AC-846C-28C43116D9C0}" dt="2021-03-26T09:32:43.664" v="2630" actId="478"/>
          <ac:spMkLst>
            <pc:docMk/>
            <pc:sldMk cId="4042398096" sldId="2146845381"/>
            <ac:spMk id="111" creationId="{7C33A415-2019-47F2-86A5-53A0DBBD761A}"/>
          </ac:spMkLst>
        </pc:spChg>
        <pc:spChg chg="add del mod">
          <ac:chgData name="Gareth Allott" userId="d67bc1e7-5e6e-4540-bcf9-468a02f7a83e" providerId="ADAL" clId="{73C83929-70DB-46AC-846C-28C43116D9C0}" dt="2021-03-26T09:32:43.664" v="2630" actId="478"/>
          <ac:spMkLst>
            <pc:docMk/>
            <pc:sldMk cId="4042398096" sldId="2146845381"/>
            <ac:spMk id="113" creationId="{24198063-25FB-436C-95E4-CE554867C71B}"/>
          </ac:spMkLst>
        </pc:spChg>
        <pc:spChg chg="add del mod">
          <ac:chgData name="Gareth Allott" userId="d67bc1e7-5e6e-4540-bcf9-468a02f7a83e" providerId="ADAL" clId="{73C83929-70DB-46AC-846C-28C43116D9C0}" dt="2021-03-26T09:32:43.664" v="2630" actId="478"/>
          <ac:spMkLst>
            <pc:docMk/>
            <pc:sldMk cId="4042398096" sldId="2146845381"/>
            <ac:spMk id="114" creationId="{88AC07CD-D518-4F2F-BC92-DD8A89DD056A}"/>
          </ac:spMkLst>
        </pc:spChg>
        <pc:spChg chg="add del mod">
          <ac:chgData name="Gareth Allott" userId="d67bc1e7-5e6e-4540-bcf9-468a02f7a83e" providerId="ADAL" clId="{73C83929-70DB-46AC-846C-28C43116D9C0}" dt="2021-03-26T09:32:43.664" v="2630" actId="478"/>
          <ac:spMkLst>
            <pc:docMk/>
            <pc:sldMk cId="4042398096" sldId="2146845381"/>
            <ac:spMk id="118" creationId="{5909E11F-ACAD-41F6-A8B5-61DCA8C7EA33}"/>
          </ac:spMkLst>
        </pc:spChg>
        <pc:spChg chg="add del mod">
          <ac:chgData name="Gareth Allott" userId="d67bc1e7-5e6e-4540-bcf9-468a02f7a83e" providerId="ADAL" clId="{73C83929-70DB-46AC-846C-28C43116D9C0}" dt="2021-03-26T09:32:43.664" v="2630" actId="478"/>
          <ac:spMkLst>
            <pc:docMk/>
            <pc:sldMk cId="4042398096" sldId="2146845381"/>
            <ac:spMk id="119" creationId="{B685BF28-9051-43D7-9F89-C4D5CE31D686}"/>
          </ac:spMkLst>
        </pc:spChg>
        <pc:spChg chg="add del mod">
          <ac:chgData name="Gareth Allott" userId="d67bc1e7-5e6e-4540-bcf9-468a02f7a83e" providerId="ADAL" clId="{73C83929-70DB-46AC-846C-28C43116D9C0}" dt="2021-03-26T09:32:43.664" v="2630" actId="478"/>
          <ac:spMkLst>
            <pc:docMk/>
            <pc:sldMk cId="4042398096" sldId="2146845381"/>
            <ac:spMk id="120" creationId="{9319C962-BA3F-4A76-B29C-DBEF196F6DBF}"/>
          </ac:spMkLst>
        </pc:spChg>
        <pc:spChg chg="add del mod">
          <ac:chgData name="Gareth Allott" userId="d67bc1e7-5e6e-4540-bcf9-468a02f7a83e" providerId="ADAL" clId="{73C83929-70DB-46AC-846C-28C43116D9C0}" dt="2021-03-26T09:32:43.664" v="2630" actId="478"/>
          <ac:spMkLst>
            <pc:docMk/>
            <pc:sldMk cId="4042398096" sldId="2146845381"/>
            <ac:spMk id="124" creationId="{7800DB7B-A618-40F8-8663-8974A939D598}"/>
          </ac:spMkLst>
        </pc:spChg>
        <pc:spChg chg="add del mod">
          <ac:chgData name="Gareth Allott" userId="d67bc1e7-5e6e-4540-bcf9-468a02f7a83e" providerId="ADAL" clId="{73C83929-70DB-46AC-846C-28C43116D9C0}" dt="2021-03-26T09:32:43.664" v="2630" actId="478"/>
          <ac:spMkLst>
            <pc:docMk/>
            <pc:sldMk cId="4042398096" sldId="2146845381"/>
            <ac:spMk id="126" creationId="{641F8E0A-1AA6-481F-AFEC-D8840E12FE3D}"/>
          </ac:spMkLst>
        </pc:spChg>
        <pc:spChg chg="add del mod">
          <ac:chgData name="Gareth Allott" userId="d67bc1e7-5e6e-4540-bcf9-468a02f7a83e" providerId="ADAL" clId="{73C83929-70DB-46AC-846C-28C43116D9C0}" dt="2021-03-26T09:32:43.664" v="2630" actId="478"/>
          <ac:spMkLst>
            <pc:docMk/>
            <pc:sldMk cId="4042398096" sldId="2146845381"/>
            <ac:spMk id="127" creationId="{A572EC55-C5A4-43DE-BC29-5C260BB4A57D}"/>
          </ac:spMkLst>
        </pc:spChg>
        <pc:spChg chg="add mod">
          <ac:chgData name="Gareth Allott" userId="d67bc1e7-5e6e-4540-bcf9-468a02f7a83e" providerId="ADAL" clId="{73C83929-70DB-46AC-846C-28C43116D9C0}" dt="2021-03-26T11:24:11.079" v="4163" actId="20577"/>
          <ac:spMkLst>
            <pc:docMk/>
            <pc:sldMk cId="4042398096" sldId="2146845381"/>
            <ac:spMk id="132" creationId="{524010D7-D822-4B0A-8837-659404E1AD27}"/>
          </ac:spMkLst>
        </pc:spChg>
        <pc:graphicFrameChg chg="add del mod modGraphic">
          <ac:chgData name="Gareth Allott" userId="d67bc1e7-5e6e-4540-bcf9-468a02f7a83e" providerId="ADAL" clId="{73C83929-70DB-46AC-846C-28C43116D9C0}" dt="2021-03-25T14:37:58.422" v="22" actId="21"/>
          <ac:graphicFrameMkLst>
            <pc:docMk/>
            <pc:sldMk cId="4042398096" sldId="2146845381"/>
            <ac:graphicFrameMk id="4" creationId="{5AAF8F6A-EE47-40CF-89BD-CE168D074AB8}"/>
          </ac:graphicFrameMkLst>
        </pc:graphicFrameChg>
        <pc:picChg chg="add mod ord">
          <ac:chgData name="Gareth Allott" userId="d67bc1e7-5e6e-4540-bcf9-468a02f7a83e" providerId="ADAL" clId="{73C83929-70DB-46AC-846C-28C43116D9C0}" dt="2021-03-25T14:49:20.888" v="483" actId="1076"/>
          <ac:picMkLst>
            <pc:docMk/>
            <pc:sldMk cId="4042398096" sldId="2146845381"/>
            <ac:picMk id="15" creationId="{197CB2C7-0C9B-42E2-8F15-003B9D74C01E}"/>
          </ac:picMkLst>
        </pc:picChg>
        <pc:picChg chg="add mod">
          <ac:chgData name="Gareth Allott" userId="d67bc1e7-5e6e-4540-bcf9-468a02f7a83e" providerId="ADAL" clId="{73C83929-70DB-46AC-846C-28C43116D9C0}" dt="2021-03-25T14:56:20.264" v="528" actId="1038"/>
          <ac:picMkLst>
            <pc:docMk/>
            <pc:sldMk cId="4042398096" sldId="2146845381"/>
            <ac:picMk id="19" creationId="{1FAD771E-8F4B-4C0B-B124-EF3D16E36240}"/>
          </ac:picMkLst>
        </pc:picChg>
        <pc:picChg chg="add del mod">
          <ac:chgData name="Gareth Allott" userId="d67bc1e7-5e6e-4540-bcf9-468a02f7a83e" providerId="ADAL" clId="{73C83929-70DB-46AC-846C-28C43116D9C0}" dt="2021-03-26T09:32:07.732" v="2628" actId="478"/>
          <ac:picMkLst>
            <pc:docMk/>
            <pc:sldMk cId="4042398096" sldId="2146845381"/>
            <ac:picMk id="26" creationId="{A5F029C6-94E0-4FD0-AAC8-492A5C35CCE6}"/>
          </ac:picMkLst>
        </pc:picChg>
        <pc:picChg chg="add del mod">
          <ac:chgData name="Gareth Allott" userId="d67bc1e7-5e6e-4540-bcf9-468a02f7a83e" providerId="ADAL" clId="{73C83929-70DB-46AC-846C-28C43116D9C0}" dt="2021-03-25T15:39:08.973" v="1720" actId="21"/>
          <ac:picMkLst>
            <pc:docMk/>
            <pc:sldMk cId="4042398096" sldId="2146845381"/>
            <ac:picMk id="27" creationId="{C352F4D3-1981-4926-98A3-438DA2E1ABF0}"/>
          </ac:picMkLst>
        </pc:picChg>
        <pc:picChg chg="add del mod">
          <ac:chgData name="Gareth Allott" userId="d67bc1e7-5e6e-4540-bcf9-468a02f7a83e" providerId="ADAL" clId="{73C83929-70DB-46AC-846C-28C43116D9C0}" dt="2021-03-25T15:39:08.973" v="1720" actId="21"/>
          <ac:picMkLst>
            <pc:docMk/>
            <pc:sldMk cId="4042398096" sldId="2146845381"/>
            <ac:picMk id="32" creationId="{FB9F9049-B62F-4E58-A7C7-AD2DA34AB794}"/>
          </ac:picMkLst>
        </pc:picChg>
        <pc:picChg chg="add del mod">
          <ac:chgData name="Gareth Allott" userId="d67bc1e7-5e6e-4540-bcf9-468a02f7a83e" providerId="ADAL" clId="{73C83929-70DB-46AC-846C-28C43116D9C0}" dt="2021-03-25T15:19:49.767" v="1077" actId="478"/>
          <ac:picMkLst>
            <pc:docMk/>
            <pc:sldMk cId="4042398096" sldId="2146845381"/>
            <ac:picMk id="34" creationId="{4F8525D3-C018-44D7-997B-921981C4C768}"/>
          </ac:picMkLst>
        </pc:picChg>
        <pc:picChg chg="add del mod">
          <ac:chgData name="Gareth Allott" userId="d67bc1e7-5e6e-4540-bcf9-468a02f7a83e" providerId="ADAL" clId="{73C83929-70DB-46AC-846C-28C43116D9C0}" dt="2021-03-25T15:39:08.973" v="1720" actId="21"/>
          <ac:picMkLst>
            <pc:docMk/>
            <pc:sldMk cId="4042398096" sldId="2146845381"/>
            <ac:picMk id="37" creationId="{84512670-9D8F-410C-BC26-BA20C06CFDD9}"/>
          </ac:picMkLst>
        </pc:picChg>
        <pc:picChg chg="add mod">
          <ac:chgData name="Gareth Allott" userId="d67bc1e7-5e6e-4540-bcf9-468a02f7a83e" providerId="ADAL" clId="{73C83929-70DB-46AC-846C-28C43116D9C0}" dt="2021-03-25T15:25:11.994" v="1297" actId="571"/>
          <ac:picMkLst>
            <pc:docMk/>
            <pc:sldMk cId="4042398096" sldId="2146845381"/>
            <ac:picMk id="41" creationId="{D6F4DD90-87F3-4C8A-80AD-8FC9CA62138B}"/>
          </ac:picMkLst>
        </pc:picChg>
        <pc:picChg chg="add mod">
          <ac:chgData name="Gareth Allott" userId="d67bc1e7-5e6e-4540-bcf9-468a02f7a83e" providerId="ADAL" clId="{73C83929-70DB-46AC-846C-28C43116D9C0}" dt="2021-03-25T15:25:11.994" v="1297" actId="571"/>
          <ac:picMkLst>
            <pc:docMk/>
            <pc:sldMk cId="4042398096" sldId="2146845381"/>
            <ac:picMk id="42" creationId="{E06C75C5-FB36-41C4-92E3-AD2D5E8D7508}"/>
          </ac:picMkLst>
        </pc:picChg>
        <pc:picChg chg="add mod">
          <ac:chgData name="Gareth Allott" userId="d67bc1e7-5e6e-4540-bcf9-468a02f7a83e" providerId="ADAL" clId="{73C83929-70DB-46AC-846C-28C43116D9C0}" dt="2021-03-25T15:25:11.994" v="1297" actId="571"/>
          <ac:picMkLst>
            <pc:docMk/>
            <pc:sldMk cId="4042398096" sldId="2146845381"/>
            <ac:picMk id="45" creationId="{0B539A0E-ACDE-4DAF-949B-6C6909FABD56}"/>
          </ac:picMkLst>
        </pc:picChg>
        <pc:picChg chg="add mod">
          <ac:chgData name="Gareth Allott" userId="d67bc1e7-5e6e-4540-bcf9-468a02f7a83e" providerId="ADAL" clId="{73C83929-70DB-46AC-846C-28C43116D9C0}" dt="2021-03-25T15:25:11.994" v="1297" actId="571"/>
          <ac:picMkLst>
            <pc:docMk/>
            <pc:sldMk cId="4042398096" sldId="2146845381"/>
            <ac:picMk id="48" creationId="{AD5947A5-8B08-4F4E-B873-E9E4E9209FFB}"/>
          </ac:picMkLst>
        </pc:picChg>
        <pc:picChg chg="add mod">
          <ac:chgData name="Gareth Allott" userId="d67bc1e7-5e6e-4540-bcf9-468a02f7a83e" providerId="ADAL" clId="{73C83929-70DB-46AC-846C-28C43116D9C0}" dt="2021-03-25T15:25:09.731" v="1294" actId="571"/>
          <ac:picMkLst>
            <pc:docMk/>
            <pc:sldMk cId="4042398096" sldId="2146845381"/>
            <ac:picMk id="55" creationId="{BF91E531-C5EE-4A94-A546-EC11659FABC7}"/>
          </ac:picMkLst>
        </pc:picChg>
        <pc:picChg chg="add mod">
          <ac:chgData name="Gareth Allott" userId="d67bc1e7-5e6e-4540-bcf9-468a02f7a83e" providerId="ADAL" clId="{73C83929-70DB-46AC-846C-28C43116D9C0}" dt="2021-03-25T15:25:09.731" v="1294" actId="571"/>
          <ac:picMkLst>
            <pc:docMk/>
            <pc:sldMk cId="4042398096" sldId="2146845381"/>
            <ac:picMk id="56" creationId="{81A77E5F-3385-4E24-8B81-B08F8F544045}"/>
          </ac:picMkLst>
        </pc:picChg>
        <pc:picChg chg="add mod">
          <ac:chgData name="Gareth Allott" userId="d67bc1e7-5e6e-4540-bcf9-468a02f7a83e" providerId="ADAL" clId="{73C83929-70DB-46AC-846C-28C43116D9C0}" dt="2021-03-25T15:25:09.731" v="1294" actId="571"/>
          <ac:picMkLst>
            <pc:docMk/>
            <pc:sldMk cId="4042398096" sldId="2146845381"/>
            <ac:picMk id="59" creationId="{63EABADB-9CD4-4B75-9B03-3D554A40C591}"/>
          </ac:picMkLst>
        </pc:picChg>
        <pc:picChg chg="add mod">
          <ac:chgData name="Gareth Allott" userId="d67bc1e7-5e6e-4540-bcf9-468a02f7a83e" providerId="ADAL" clId="{73C83929-70DB-46AC-846C-28C43116D9C0}" dt="2021-03-25T15:25:09.731" v="1294" actId="571"/>
          <ac:picMkLst>
            <pc:docMk/>
            <pc:sldMk cId="4042398096" sldId="2146845381"/>
            <ac:picMk id="62" creationId="{0B509898-949A-4CE3-B388-833CFDC1E842}"/>
          </ac:picMkLst>
        </pc:picChg>
        <pc:picChg chg="add mod">
          <ac:chgData name="Gareth Allott" userId="d67bc1e7-5e6e-4540-bcf9-468a02f7a83e" providerId="ADAL" clId="{73C83929-70DB-46AC-846C-28C43116D9C0}" dt="2021-03-25T15:25:09.156" v="1293" actId="571"/>
          <ac:picMkLst>
            <pc:docMk/>
            <pc:sldMk cId="4042398096" sldId="2146845381"/>
            <ac:picMk id="66" creationId="{CBC9E603-6311-4878-B96F-75587E43E434}"/>
          </ac:picMkLst>
        </pc:picChg>
        <pc:picChg chg="add mod">
          <ac:chgData name="Gareth Allott" userId="d67bc1e7-5e6e-4540-bcf9-468a02f7a83e" providerId="ADAL" clId="{73C83929-70DB-46AC-846C-28C43116D9C0}" dt="2021-03-25T15:25:09.156" v="1293" actId="571"/>
          <ac:picMkLst>
            <pc:docMk/>
            <pc:sldMk cId="4042398096" sldId="2146845381"/>
            <ac:picMk id="67" creationId="{D68D9061-0F14-4BFC-A775-63AA52D8E3C3}"/>
          </ac:picMkLst>
        </pc:picChg>
        <pc:picChg chg="add mod">
          <ac:chgData name="Gareth Allott" userId="d67bc1e7-5e6e-4540-bcf9-468a02f7a83e" providerId="ADAL" clId="{73C83929-70DB-46AC-846C-28C43116D9C0}" dt="2021-03-25T15:25:09.156" v="1293" actId="571"/>
          <ac:picMkLst>
            <pc:docMk/>
            <pc:sldMk cId="4042398096" sldId="2146845381"/>
            <ac:picMk id="70" creationId="{6D69D1B1-C44A-41AE-8E74-4A6E9F4E24A0}"/>
          </ac:picMkLst>
        </pc:picChg>
        <pc:picChg chg="add mod">
          <ac:chgData name="Gareth Allott" userId="d67bc1e7-5e6e-4540-bcf9-468a02f7a83e" providerId="ADAL" clId="{73C83929-70DB-46AC-846C-28C43116D9C0}" dt="2021-03-25T15:25:09.156" v="1293" actId="571"/>
          <ac:picMkLst>
            <pc:docMk/>
            <pc:sldMk cId="4042398096" sldId="2146845381"/>
            <ac:picMk id="73" creationId="{85ECBBBE-8F97-426E-A958-83C4D5A53071}"/>
          </ac:picMkLst>
        </pc:picChg>
        <pc:picChg chg="add del mod">
          <ac:chgData name="Gareth Allott" userId="d67bc1e7-5e6e-4540-bcf9-468a02f7a83e" providerId="ADAL" clId="{73C83929-70DB-46AC-846C-28C43116D9C0}" dt="2021-03-26T09:32:04.926" v="2627" actId="478"/>
          <ac:picMkLst>
            <pc:docMk/>
            <pc:sldMk cId="4042398096" sldId="2146845381"/>
            <ac:picMk id="77" creationId="{602383C7-3900-449C-BFE8-11232A2C8450}"/>
          </ac:picMkLst>
        </pc:picChg>
        <pc:picChg chg="add del mod">
          <ac:chgData name="Gareth Allott" userId="d67bc1e7-5e6e-4540-bcf9-468a02f7a83e" providerId="ADAL" clId="{73C83929-70DB-46AC-846C-28C43116D9C0}" dt="2021-03-26T09:28:23.930" v="2454" actId="478"/>
          <ac:picMkLst>
            <pc:docMk/>
            <pc:sldMk cId="4042398096" sldId="2146845381"/>
            <ac:picMk id="78" creationId="{136D86B5-E0EF-4DAC-BC84-CEBF83463EF1}"/>
          </ac:picMkLst>
        </pc:picChg>
        <pc:picChg chg="add mod">
          <ac:chgData name="Gareth Allott" userId="d67bc1e7-5e6e-4540-bcf9-468a02f7a83e" providerId="ADAL" clId="{73C83929-70DB-46AC-846C-28C43116D9C0}" dt="2021-03-26T11:23:08.435" v="4041" actId="1076"/>
          <ac:picMkLst>
            <pc:docMk/>
            <pc:sldMk cId="4042398096" sldId="2146845381"/>
            <ac:picMk id="81" creationId="{91ADE453-E1D1-4502-AD92-8640C962CD4C}"/>
          </ac:picMkLst>
        </pc:picChg>
        <pc:picChg chg="add mod">
          <ac:chgData name="Gareth Allott" userId="d67bc1e7-5e6e-4540-bcf9-468a02f7a83e" providerId="ADAL" clId="{73C83929-70DB-46AC-846C-28C43116D9C0}" dt="2021-03-26T11:23:08.435" v="4041" actId="1076"/>
          <ac:picMkLst>
            <pc:docMk/>
            <pc:sldMk cId="4042398096" sldId="2146845381"/>
            <ac:picMk id="84" creationId="{53F8B173-723F-45D7-A793-6713BF7ADB36}"/>
          </ac:picMkLst>
        </pc:picChg>
        <pc:picChg chg="add mod">
          <ac:chgData name="Gareth Allott" userId="d67bc1e7-5e6e-4540-bcf9-468a02f7a83e" providerId="ADAL" clId="{73C83929-70DB-46AC-846C-28C43116D9C0}" dt="2021-03-26T11:23:08.435" v="4041" actId="1076"/>
          <ac:picMkLst>
            <pc:docMk/>
            <pc:sldMk cId="4042398096" sldId="2146845381"/>
            <ac:picMk id="85" creationId="{48F90E7F-3396-45F9-ABD9-AD5144A1123F}"/>
          </ac:picMkLst>
        </pc:picChg>
        <pc:picChg chg="add del mod">
          <ac:chgData name="Gareth Allott" userId="d67bc1e7-5e6e-4540-bcf9-468a02f7a83e" providerId="ADAL" clId="{73C83929-70DB-46AC-846C-28C43116D9C0}" dt="2021-03-26T09:30:03.819" v="2523" actId="478"/>
          <ac:picMkLst>
            <pc:docMk/>
            <pc:sldMk cId="4042398096" sldId="2146845381"/>
            <ac:picMk id="91" creationId="{72011A91-ACB4-42A8-AC2A-B7A0F0EEFB85}"/>
          </ac:picMkLst>
        </pc:picChg>
        <pc:picChg chg="add del mod">
          <ac:chgData name="Gareth Allott" userId="d67bc1e7-5e6e-4540-bcf9-468a02f7a83e" providerId="ADAL" clId="{73C83929-70DB-46AC-846C-28C43116D9C0}" dt="2021-03-26T09:30:03.819" v="2523" actId="478"/>
          <ac:picMkLst>
            <pc:docMk/>
            <pc:sldMk cId="4042398096" sldId="2146845381"/>
            <ac:picMk id="94" creationId="{3050418B-40FB-4470-A0DE-520B3CBCA99E}"/>
          </ac:picMkLst>
        </pc:picChg>
        <pc:picChg chg="add del mod">
          <ac:chgData name="Gareth Allott" userId="d67bc1e7-5e6e-4540-bcf9-468a02f7a83e" providerId="ADAL" clId="{73C83929-70DB-46AC-846C-28C43116D9C0}" dt="2021-03-26T09:30:03.819" v="2523" actId="478"/>
          <ac:picMkLst>
            <pc:docMk/>
            <pc:sldMk cId="4042398096" sldId="2146845381"/>
            <ac:picMk id="97" creationId="{38B0D904-1ACE-4037-A0FF-87CAEABAA48E}"/>
          </ac:picMkLst>
        </pc:picChg>
        <pc:picChg chg="add del mod">
          <ac:chgData name="Gareth Allott" userId="d67bc1e7-5e6e-4540-bcf9-468a02f7a83e" providerId="ADAL" clId="{73C83929-70DB-46AC-846C-28C43116D9C0}" dt="2021-03-26T09:30:03.819" v="2523" actId="478"/>
          <ac:picMkLst>
            <pc:docMk/>
            <pc:sldMk cId="4042398096" sldId="2146845381"/>
            <ac:picMk id="98" creationId="{C05CB11E-FA94-4DC8-955A-0A7DEDFE5579}"/>
          </ac:picMkLst>
        </pc:picChg>
        <pc:picChg chg="add del mod">
          <ac:chgData name="Gareth Allott" userId="d67bc1e7-5e6e-4540-bcf9-468a02f7a83e" providerId="ADAL" clId="{73C83929-70DB-46AC-846C-28C43116D9C0}" dt="2021-03-26T09:32:11.956" v="2629" actId="478"/>
          <ac:picMkLst>
            <pc:docMk/>
            <pc:sldMk cId="4042398096" sldId="2146845381"/>
            <ac:picMk id="108" creationId="{374BBB11-F41A-4AB9-98DB-34E7AB49C6E9}"/>
          </ac:picMkLst>
        </pc:picChg>
        <pc:picChg chg="add del mod">
          <ac:chgData name="Gareth Allott" userId="d67bc1e7-5e6e-4540-bcf9-468a02f7a83e" providerId="ADAL" clId="{73C83929-70DB-46AC-846C-28C43116D9C0}" dt="2021-03-26T09:31:28.068" v="2561" actId="478"/>
          <ac:picMkLst>
            <pc:docMk/>
            <pc:sldMk cId="4042398096" sldId="2146845381"/>
            <ac:picMk id="109" creationId="{745832BD-6FB0-45D0-8262-78F0BFF6EAE5}"/>
          </ac:picMkLst>
        </pc:picChg>
        <pc:picChg chg="add del mod">
          <ac:chgData name="Gareth Allott" userId="d67bc1e7-5e6e-4540-bcf9-468a02f7a83e" providerId="ADAL" clId="{73C83929-70DB-46AC-846C-28C43116D9C0}" dt="2021-03-26T09:32:43.664" v="2630" actId="478"/>
          <ac:picMkLst>
            <pc:docMk/>
            <pc:sldMk cId="4042398096" sldId="2146845381"/>
            <ac:picMk id="112" creationId="{5AFC1A7C-1FDF-42BE-96F7-102AE96861DD}"/>
          </ac:picMkLst>
        </pc:picChg>
        <pc:picChg chg="add del mod">
          <ac:chgData name="Gareth Allott" userId="d67bc1e7-5e6e-4540-bcf9-468a02f7a83e" providerId="ADAL" clId="{73C83929-70DB-46AC-846C-28C43116D9C0}" dt="2021-03-26T09:32:43.664" v="2630" actId="478"/>
          <ac:picMkLst>
            <pc:docMk/>
            <pc:sldMk cId="4042398096" sldId="2146845381"/>
            <ac:picMk id="115" creationId="{2490E844-435A-491F-9084-6CA6A4A7E8E5}"/>
          </ac:picMkLst>
        </pc:picChg>
        <pc:picChg chg="add del mod">
          <ac:chgData name="Gareth Allott" userId="d67bc1e7-5e6e-4540-bcf9-468a02f7a83e" providerId="ADAL" clId="{73C83929-70DB-46AC-846C-28C43116D9C0}" dt="2021-03-26T09:31:26.164" v="2559" actId="478"/>
          <ac:picMkLst>
            <pc:docMk/>
            <pc:sldMk cId="4042398096" sldId="2146845381"/>
            <ac:picMk id="121" creationId="{6D19428C-D179-4D82-887C-224B68AECDE9}"/>
          </ac:picMkLst>
        </pc:picChg>
        <pc:picChg chg="add del mod">
          <ac:chgData name="Gareth Allott" userId="d67bc1e7-5e6e-4540-bcf9-468a02f7a83e" providerId="ADAL" clId="{73C83929-70DB-46AC-846C-28C43116D9C0}" dt="2021-03-26T09:31:27.010" v="2560" actId="478"/>
          <ac:picMkLst>
            <pc:docMk/>
            <pc:sldMk cId="4042398096" sldId="2146845381"/>
            <ac:picMk id="122" creationId="{5EB05484-797E-4B10-9C18-2036D7A712F1}"/>
          </ac:picMkLst>
        </pc:picChg>
        <pc:picChg chg="add del mod">
          <ac:chgData name="Gareth Allott" userId="d67bc1e7-5e6e-4540-bcf9-468a02f7a83e" providerId="ADAL" clId="{73C83929-70DB-46AC-846C-28C43116D9C0}" dt="2021-03-26T09:32:43.664" v="2630" actId="478"/>
          <ac:picMkLst>
            <pc:docMk/>
            <pc:sldMk cId="4042398096" sldId="2146845381"/>
            <ac:picMk id="125" creationId="{941DDBF9-0055-459D-A301-DF9FCC30371C}"/>
          </ac:picMkLst>
        </pc:picChg>
        <pc:picChg chg="add del mod">
          <ac:chgData name="Gareth Allott" userId="d67bc1e7-5e6e-4540-bcf9-468a02f7a83e" providerId="ADAL" clId="{73C83929-70DB-46AC-846C-28C43116D9C0}" dt="2021-03-26T09:32:43.664" v="2630" actId="478"/>
          <ac:picMkLst>
            <pc:docMk/>
            <pc:sldMk cId="4042398096" sldId="2146845381"/>
            <ac:picMk id="128" creationId="{2779A074-3A0C-45D7-8E87-9CD3283A94ED}"/>
          </ac:picMkLst>
        </pc:picChg>
        <pc:cxnChg chg="add del mod">
          <ac:chgData name="Gareth Allott" userId="d67bc1e7-5e6e-4540-bcf9-468a02f7a83e" providerId="ADAL" clId="{73C83929-70DB-46AC-846C-28C43116D9C0}" dt="2021-03-25T15:39:08.973" v="1720" actId="21"/>
          <ac:cxnSpMkLst>
            <pc:docMk/>
            <pc:sldMk cId="4042398096" sldId="2146845381"/>
            <ac:cxnSpMk id="29" creationId="{3249B83B-84BB-4A3E-81BF-EC28611A31DA}"/>
          </ac:cxnSpMkLst>
        </pc:cxnChg>
        <pc:cxnChg chg="add mod">
          <ac:chgData name="Gareth Allott" userId="d67bc1e7-5e6e-4540-bcf9-468a02f7a83e" providerId="ADAL" clId="{73C83929-70DB-46AC-846C-28C43116D9C0}" dt="2021-03-25T15:25:11.994" v="1297" actId="571"/>
          <ac:cxnSpMkLst>
            <pc:docMk/>
            <pc:sldMk cId="4042398096" sldId="2146845381"/>
            <ac:cxnSpMk id="43" creationId="{C80C2F28-8D06-4744-B4AB-933A44C52553}"/>
          </ac:cxnSpMkLst>
        </pc:cxnChg>
        <pc:cxnChg chg="add del mod">
          <ac:chgData name="Gareth Allott" userId="d67bc1e7-5e6e-4540-bcf9-468a02f7a83e" providerId="ADAL" clId="{73C83929-70DB-46AC-846C-28C43116D9C0}" dt="2021-03-25T15:25:11.563" v="1296" actId="11529"/>
          <ac:cxnSpMkLst>
            <pc:docMk/>
            <pc:sldMk cId="4042398096" sldId="2146845381"/>
            <ac:cxnSpMk id="50" creationId="{DF162345-34CC-4B89-B4A8-6FA3B71E6EFE}"/>
          </ac:cxnSpMkLst>
        </pc:cxnChg>
        <pc:cxnChg chg="add mod">
          <ac:chgData name="Gareth Allott" userId="d67bc1e7-5e6e-4540-bcf9-468a02f7a83e" providerId="ADAL" clId="{73C83929-70DB-46AC-846C-28C43116D9C0}" dt="2021-03-25T15:25:09.731" v="1294" actId="571"/>
          <ac:cxnSpMkLst>
            <pc:docMk/>
            <pc:sldMk cId="4042398096" sldId="2146845381"/>
            <ac:cxnSpMk id="57" creationId="{5C9428EA-0C3E-4F81-AC6D-02ECC18FAAC6}"/>
          </ac:cxnSpMkLst>
        </pc:cxnChg>
        <pc:cxnChg chg="add mod">
          <ac:chgData name="Gareth Allott" userId="d67bc1e7-5e6e-4540-bcf9-468a02f7a83e" providerId="ADAL" clId="{73C83929-70DB-46AC-846C-28C43116D9C0}" dt="2021-03-25T15:25:09.156" v="1293" actId="571"/>
          <ac:cxnSpMkLst>
            <pc:docMk/>
            <pc:sldMk cId="4042398096" sldId="2146845381"/>
            <ac:cxnSpMk id="68" creationId="{B5B56143-01AC-4A88-A106-95A2158B7A1C}"/>
          </ac:cxnSpMkLst>
        </pc:cxnChg>
        <pc:cxnChg chg="add mod">
          <ac:chgData name="Gareth Allott" userId="d67bc1e7-5e6e-4540-bcf9-468a02f7a83e" providerId="ADAL" clId="{73C83929-70DB-46AC-846C-28C43116D9C0}" dt="2021-03-26T11:23:08.435" v="4041" actId="1076"/>
          <ac:cxnSpMkLst>
            <pc:docMk/>
            <pc:sldMk cId="4042398096" sldId="2146845381"/>
            <ac:cxnSpMk id="79" creationId="{B19849EC-65FC-4E0D-AB76-A9C76CDFD381}"/>
          </ac:cxnSpMkLst>
        </pc:cxnChg>
        <pc:cxnChg chg="add mod">
          <ac:chgData name="Gareth Allott" userId="d67bc1e7-5e6e-4540-bcf9-468a02f7a83e" providerId="ADAL" clId="{73C83929-70DB-46AC-846C-28C43116D9C0}" dt="2021-03-26T11:23:08.435" v="4041" actId="1076"/>
          <ac:cxnSpMkLst>
            <pc:docMk/>
            <pc:sldMk cId="4042398096" sldId="2146845381"/>
            <ac:cxnSpMk id="87" creationId="{EBA2F40A-FEC0-40FA-B19A-1236FA753E82}"/>
          </ac:cxnSpMkLst>
        </pc:cxnChg>
        <pc:cxnChg chg="add del mod">
          <ac:chgData name="Gareth Allott" userId="d67bc1e7-5e6e-4540-bcf9-468a02f7a83e" providerId="ADAL" clId="{73C83929-70DB-46AC-846C-28C43116D9C0}" dt="2021-03-26T09:30:03.819" v="2523" actId="478"/>
          <ac:cxnSpMkLst>
            <pc:docMk/>
            <pc:sldMk cId="4042398096" sldId="2146845381"/>
            <ac:cxnSpMk id="92" creationId="{6A410134-37E7-4A5B-A0B1-C3F829B7393F}"/>
          </ac:cxnSpMkLst>
        </pc:cxnChg>
        <pc:cxnChg chg="add del mod">
          <ac:chgData name="Gareth Allott" userId="d67bc1e7-5e6e-4540-bcf9-468a02f7a83e" providerId="ADAL" clId="{73C83929-70DB-46AC-846C-28C43116D9C0}" dt="2021-03-26T09:32:43.664" v="2630" actId="478"/>
          <ac:cxnSpMkLst>
            <pc:docMk/>
            <pc:sldMk cId="4042398096" sldId="2146845381"/>
            <ac:cxnSpMk id="99" creationId="{E610C5CF-97B0-4E6E-97B3-23C30D4D0FD8}"/>
          </ac:cxnSpMkLst>
        </pc:cxnChg>
        <pc:cxnChg chg="add del mod">
          <ac:chgData name="Gareth Allott" userId="d67bc1e7-5e6e-4540-bcf9-468a02f7a83e" providerId="ADAL" clId="{73C83929-70DB-46AC-846C-28C43116D9C0}" dt="2021-03-26T09:32:43.664" v="2630" actId="478"/>
          <ac:cxnSpMkLst>
            <pc:docMk/>
            <pc:sldMk cId="4042398096" sldId="2146845381"/>
            <ac:cxnSpMk id="110" creationId="{5BFF6774-A26C-4D28-BCAE-F4CA55DA29EF}"/>
          </ac:cxnSpMkLst>
        </pc:cxnChg>
        <pc:cxnChg chg="add del mod">
          <ac:chgData name="Gareth Allott" userId="d67bc1e7-5e6e-4540-bcf9-468a02f7a83e" providerId="ADAL" clId="{73C83929-70DB-46AC-846C-28C43116D9C0}" dt="2021-03-26T09:32:43.664" v="2630" actId="478"/>
          <ac:cxnSpMkLst>
            <pc:docMk/>
            <pc:sldMk cId="4042398096" sldId="2146845381"/>
            <ac:cxnSpMk id="123" creationId="{98DA15AE-6E41-4641-BFC0-B82EA12C8093}"/>
          </ac:cxnSpMkLst>
        </pc:cxnChg>
        <pc:cxnChg chg="add del mod">
          <ac:chgData name="Gareth Allott" userId="d67bc1e7-5e6e-4540-bcf9-468a02f7a83e" providerId="ADAL" clId="{73C83929-70DB-46AC-846C-28C43116D9C0}" dt="2021-03-26T09:32:43.664" v="2630" actId="478"/>
          <ac:cxnSpMkLst>
            <pc:docMk/>
            <pc:sldMk cId="4042398096" sldId="2146845381"/>
            <ac:cxnSpMk id="129" creationId="{C59D2905-A645-4C53-801F-2593B8C5E7A4}"/>
          </ac:cxnSpMkLst>
        </pc:cxnChg>
      </pc:sldChg>
      <pc:sldChg chg="addSp delSp modSp add del mod ord modTransition">
        <pc:chgData name="Gareth Allott" userId="d67bc1e7-5e6e-4540-bcf9-468a02f7a83e" providerId="ADAL" clId="{73C83929-70DB-46AC-846C-28C43116D9C0}" dt="2021-03-26T11:21:52.295" v="3950" actId="47"/>
        <pc:sldMkLst>
          <pc:docMk/>
          <pc:sldMk cId="1336181066" sldId="2146845382"/>
        </pc:sldMkLst>
        <pc:spChg chg="add mod">
          <ac:chgData name="Gareth Allott" userId="d67bc1e7-5e6e-4540-bcf9-468a02f7a83e" providerId="ADAL" clId="{73C83929-70DB-46AC-846C-28C43116D9C0}" dt="2021-03-26T09:51:53.255" v="3546" actId="14100"/>
          <ac:spMkLst>
            <pc:docMk/>
            <pc:sldMk cId="1336181066" sldId="2146845382"/>
            <ac:spMk id="2" creationId="{EE17E98F-A671-471A-BFB5-51ABE3A766C2}"/>
          </ac:spMkLst>
        </pc:spChg>
        <pc:spChg chg="del">
          <ac:chgData name="Gareth Allott" userId="d67bc1e7-5e6e-4540-bcf9-468a02f7a83e" providerId="ADAL" clId="{73C83929-70DB-46AC-846C-28C43116D9C0}" dt="2021-03-25T15:18:37.456" v="992" actId="478"/>
          <ac:spMkLst>
            <pc:docMk/>
            <pc:sldMk cId="1336181066" sldId="2146845382"/>
            <ac:spMk id="21" creationId="{D5EC4ACA-AD91-4640-80C9-57C0E290A8D5}"/>
          </ac:spMkLst>
        </pc:spChg>
        <pc:spChg chg="del">
          <ac:chgData name="Gareth Allott" userId="d67bc1e7-5e6e-4540-bcf9-468a02f7a83e" providerId="ADAL" clId="{73C83929-70DB-46AC-846C-28C43116D9C0}" dt="2021-03-25T15:18:37.456" v="992" actId="478"/>
          <ac:spMkLst>
            <pc:docMk/>
            <pc:sldMk cId="1336181066" sldId="2146845382"/>
            <ac:spMk id="22" creationId="{7DBA80EA-8636-46AF-AB4F-8144EB03A5CD}"/>
          </ac:spMkLst>
        </pc:spChg>
        <pc:spChg chg="del">
          <ac:chgData name="Gareth Allott" userId="d67bc1e7-5e6e-4540-bcf9-468a02f7a83e" providerId="ADAL" clId="{73C83929-70DB-46AC-846C-28C43116D9C0}" dt="2021-03-25T15:18:37.456" v="992" actId="478"/>
          <ac:spMkLst>
            <pc:docMk/>
            <pc:sldMk cId="1336181066" sldId="2146845382"/>
            <ac:spMk id="23" creationId="{AD1183A4-12E6-48A9-954D-97F53B69475B}"/>
          </ac:spMkLst>
        </pc:spChg>
        <pc:spChg chg="add mod">
          <ac:chgData name="Gareth Allott" userId="d67bc1e7-5e6e-4540-bcf9-468a02f7a83e" providerId="ADAL" clId="{73C83929-70DB-46AC-846C-28C43116D9C0}" dt="2021-03-26T09:53:35.725" v="3695" actId="207"/>
          <ac:spMkLst>
            <pc:docMk/>
            <pc:sldMk cId="1336181066" sldId="2146845382"/>
            <ac:spMk id="24" creationId="{36AF9219-9957-4051-B5F8-EC6954ECBB0A}"/>
          </ac:spMkLst>
        </pc:spChg>
        <pc:spChg chg="add mod">
          <ac:chgData name="Gareth Allott" userId="d67bc1e7-5e6e-4540-bcf9-468a02f7a83e" providerId="ADAL" clId="{73C83929-70DB-46AC-846C-28C43116D9C0}" dt="2021-03-26T09:53:18.068" v="3693" actId="404"/>
          <ac:spMkLst>
            <pc:docMk/>
            <pc:sldMk cId="1336181066" sldId="2146845382"/>
            <ac:spMk id="25" creationId="{E9B8787E-350C-4F1F-ABF7-622CE45491D8}"/>
          </ac:spMkLst>
        </pc:spChg>
        <pc:spChg chg="add mod">
          <ac:chgData name="Gareth Allott" userId="d67bc1e7-5e6e-4540-bcf9-468a02f7a83e" providerId="ADAL" clId="{73C83929-70DB-46AC-846C-28C43116D9C0}" dt="2021-03-26T09:53:35.725" v="3695" actId="207"/>
          <ac:spMkLst>
            <pc:docMk/>
            <pc:sldMk cId="1336181066" sldId="2146845382"/>
            <ac:spMk id="28" creationId="{51818A94-11CB-489E-BB44-85B80C254AAB}"/>
          </ac:spMkLst>
        </pc:spChg>
        <pc:spChg chg="del">
          <ac:chgData name="Gareth Allott" userId="d67bc1e7-5e6e-4540-bcf9-468a02f7a83e" providerId="ADAL" clId="{73C83929-70DB-46AC-846C-28C43116D9C0}" dt="2021-03-25T15:18:37.456" v="992" actId="478"/>
          <ac:spMkLst>
            <pc:docMk/>
            <pc:sldMk cId="1336181066" sldId="2146845382"/>
            <ac:spMk id="30" creationId="{907DB02E-E3DB-4B20-9297-E0658F938352}"/>
          </ac:spMkLst>
        </pc:spChg>
        <pc:spChg chg="add del mod">
          <ac:chgData name="Gareth Allott" userId="d67bc1e7-5e6e-4540-bcf9-468a02f7a83e" providerId="ADAL" clId="{73C83929-70DB-46AC-846C-28C43116D9C0}" dt="2021-03-26T10:42:35.331" v="3919"/>
          <ac:spMkLst>
            <pc:docMk/>
            <pc:sldMk cId="1336181066" sldId="2146845382"/>
            <ac:spMk id="31" creationId="{C61FFD4F-D70F-4011-89D2-6616089F4094}"/>
          </ac:spMkLst>
        </pc:spChg>
        <pc:spChg chg="add del mod">
          <ac:chgData name="Gareth Allott" userId="d67bc1e7-5e6e-4540-bcf9-468a02f7a83e" providerId="ADAL" clId="{73C83929-70DB-46AC-846C-28C43116D9C0}" dt="2021-03-26T10:42:35.331" v="3919"/>
          <ac:spMkLst>
            <pc:docMk/>
            <pc:sldMk cId="1336181066" sldId="2146845382"/>
            <ac:spMk id="33" creationId="{ACBF934A-FD4E-4FA6-99D1-B38B30E96C5D}"/>
          </ac:spMkLst>
        </pc:spChg>
        <pc:spChg chg="add del mod">
          <ac:chgData name="Gareth Allott" userId="d67bc1e7-5e6e-4540-bcf9-468a02f7a83e" providerId="ADAL" clId="{73C83929-70DB-46AC-846C-28C43116D9C0}" dt="2021-03-26T10:42:35.331" v="3919"/>
          <ac:spMkLst>
            <pc:docMk/>
            <pc:sldMk cId="1336181066" sldId="2146845382"/>
            <ac:spMk id="34" creationId="{7EE01E35-4384-4E20-A55B-228DBCED8033}"/>
          </ac:spMkLst>
        </pc:spChg>
        <pc:spChg chg="add del mod">
          <ac:chgData name="Gareth Allott" userId="d67bc1e7-5e6e-4540-bcf9-468a02f7a83e" providerId="ADAL" clId="{73C83929-70DB-46AC-846C-28C43116D9C0}" dt="2021-03-26T10:42:35.331" v="3919"/>
          <ac:spMkLst>
            <pc:docMk/>
            <pc:sldMk cId="1336181066" sldId="2146845382"/>
            <ac:spMk id="35" creationId="{2DF50204-80AC-4A33-A1D1-A2F94FB4FDED}"/>
          </ac:spMkLst>
        </pc:spChg>
        <pc:spChg chg="add mod">
          <ac:chgData name="Gareth Allott" userId="d67bc1e7-5e6e-4540-bcf9-468a02f7a83e" providerId="ADAL" clId="{73C83929-70DB-46AC-846C-28C43116D9C0}" dt="2021-03-26T10:43:21.509" v="3948"/>
          <ac:spMkLst>
            <pc:docMk/>
            <pc:sldMk cId="1336181066" sldId="2146845382"/>
            <ac:spMk id="36" creationId="{C049477F-4A65-47C3-82A1-B69C0C0FE635}"/>
          </ac:spMkLst>
        </pc:spChg>
        <pc:spChg chg="add mod">
          <ac:chgData name="Gareth Allott" userId="d67bc1e7-5e6e-4540-bcf9-468a02f7a83e" providerId="ADAL" clId="{73C83929-70DB-46AC-846C-28C43116D9C0}" dt="2021-03-26T10:43:21.509" v="3948"/>
          <ac:spMkLst>
            <pc:docMk/>
            <pc:sldMk cId="1336181066" sldId="2146845382"/>
            <ac:spMk id="37" creationId="{C47AC9D0-A29E-48DD-B5AE-658241282CC1}"/>
          </ac:spMkLst>
        </pc:spChg>
        <pc:spChg chg="add mod">
          <ac:chgData name="Gareth Allott" userId="d67bc1e7-5e6e-4540-bcf9-468a02f7a83e" providerId="ADAL" clId="{73C83929-70DB-46AC-846C-28C43116D9C0}" dt="2021-03-26T10:43:21.509" v="3948"/>
          <ac:spMkLst>
            <pc:docMk/>
            <pc:sldMk cId="1336181066" sldId="2146845382"/>
            <ac:spMk id="38" creationId="{45959F16-A18F-43CD-86A8-62175EBEE830}"/>
          </ac:spMkLst>
        </pc:spChg>
        <pc:spChg chg="add mod">
          <ac:chgData name="Gareth Allott" userId="d67bc1e7-5e6e-4540-bcf9-468a02f7a83e" providerId="ADAL" clId="{73C83929-70DB-46AC-846C-28C43116D9C0}" dt="2021-03-26T10:43:21.509" v="3948"/>
          <ac:spMkLst>
            <pc:docMk/>
            <pc:sldMk cId="1336181066" sldId="2146845382"/>
            <ac:spMk id="39" creationId="{99874263-4539-42B3-AA8F-CAC4FF79EEAB}"/>
          </ac:spMkLst>
        </pc:spChg>
        <pc:picChg chg="add mod">
          <ac:chgData name="Gareth Allott" userId="d67bc1e7-5e6e-4540-bcf9-468a02f7a83e" providerId="ADAL" clId="{73C83929-70DB-46AC-846C-28C43116D9C0}" dt="2021-03-26T09:53:13.837" v="3691" actId="1035"/>
          <ac:picMkLst>
            <pc:docMk/>
            <pc:sldMk cId="1336181066" sldId="2146845382"/>
            <ac:picMk id="4" creationId="{7708375D-981D-4171-8C39-2691878BC742}"/>
          </ac:picMkLst>
        </pc:picChg>
        <pc:picChg chg="del">
          <ac:chgData name="Gareth Allott" userId="d67bc1e7-5e6e-4540-bcf9-468a02f7a83e" providerId="ADAL" clId="{73C83929-70DB-46AC-846C-28C43116D9C0}" dt="2021-03-25T15:18:37.456" v="992" actId="478"/>
          <ac:picMkLst>
            <pc:docMk/>
            <pc:sldMk cId="1336181066" sldId="2146845382"/>
            <ac:picMk id="26" creationId="{A5F029C6-94E0-4FD0-AAC8-492A5C35CCE6}"/>
          </ac:picMkLst>
        </pc:picChg>
        <pc:picChg chg="del">
          <ac:chgData name="Gareth Allott" userId="d67bc1e7-5e6e-4540-bcf9-468a02f7a83e" providerId="ADAL" clId="{73C83929-70DB-46AC-846C-28C43116D9C0}" dt="2021-03-25T15:18:37.456" v="992" actId="478"/>
          <ac:picMkLst>
            <pc:docMk/>
            <pc:sldMk cId="1336181066" sldId="2146845382"/>
            <ac:picMk id="27" creationId="{C352F4D3-1981-4926-98A3-438DA2E1ABF0}"/>
          </ac:picMkLst>
        </pc:picChg>
        <pc:picChg chg="del">
          <ac:chgData name="Gareth Allott" userId="d67bc1e7-5e6e-4540-bcf9-468a02f7a83e" providerId="ADAL" clId="{73C83929-70DB-46AC-846C-28C43116D9C0}" dt="2021-03-25T15:18:37.456" v="992" actId="478"/>
          <ac:picMkLst>
            <pc:docMk/>
            <pc:sldMk cId="1336181066" sldId="2146845382"/>
            <ac:picMk id="32" creationId="{FB9F9049-B62F-4E58-A7C7-AD2DA34AB794}"/>
          </ac:picMkLst>
        </pc:picChg>
        <pc:cxnChg chg="del">
          <ac:chgData name="Gareth Allott" userId="d67bc1e7-5e6e-4540-bcf9-468a02f7a83e" providerId="ADAL" clId="{73C83929-70DB-46AC-846C-28C43116D9C0}" dt="2021-03-25T15:18:37.456" v="992" actId="478"/>
          <ac:cxnSpMkLst>
            <pc:docMk/>
            <pc:sldMk cId="1336181066" sldId="2146845382"/>
            <ac:cxnSpMk id="29" creationId="{3249B83B-84BB-4A3E-81BF-EC28611A31DA}"/>
          </ac:cxnSpMkLst>
        </pc:cxnChg>
      </pc:sldChg>
      <pc:sldChg chg="delSp add del mod">
        <pc:chgData name="Gareth Allott" userId="d67bc1e7-5e6e-4540-bcf9-468a02f7a83e" providerId="ADAL" clId="{73C83929-70DB-46AC-846C-28C43116D9C0}" dt="2021-03-25T15:18:32.109" v="990" actId="47"/>
        <pc:sldMkLst>
          <pc:docMk/>
          <pc:sldMk cId="3480095719" sldId="2146845382"/>
        </pc:sldMkLst>
        <pc:spChg chg="del">
          <ac:chgData name="Gareth Allott" userId="d67bc1e7-5e6e-4540-bcf9-468a02f7a83e" providerId="ADAL" clId="{73C83929-70DB-46AC-846C-28C43116D9C0}" dt="2021-03-25T15:06:46.999" v="628" actId="478"/>
          <ac:spMkLst>
            <pc:docMk/>
            <pc:sldMk cId="3480095719" sldId="2146845382"/>
            <ac:spMk id="21" creationId="{D5EC4ACA-AD91-4640-80C9-57C0E290A8D5}"/>
          </ac:spMkLst>
        </pc:spChg>
        <pc:spChg chg="del">
          <ac:chgData name="Gareth Allott" userId="d67bc1e7-5e6e-4540-bcf9-468a02f7a83e" providerId="ADAL" clId="{73C83929-70DB-46AC-846C-28C43116D9C0}" dt="2021-03-25T15:06:46.999" v="628" actId="478"/>
          <ac:spMkLst>
            <pc:docMk/>
            <pc:sldMk cId="3480095719" sldId="2146845382"/>
            <ac:spMk id="22" creationId="{7DBA80EA-8636-46AF-AB4F-8144EB03A5CD}"/>
          </ac:spMkLst>
        </pc:spChg>
        <pc:spChg chg="del">
          <ac:chgData name="Gareth Allott" userId="d67bc1e7-5e6e-4540-bcf9-468a02f7a83e" providerId="ADAL" clId="{73C83929-70DB-46AC-846C-28C43116D9C0}" dt="2021-03-25T15:06:46.999" v="628" actId="478"/>
          <ac:spMkLst>
            <pc:docMk/>
            <pc:sldMk cId="3480095719" sldId="2146845382"/>
            <ac:spMk id="23" creationId="{AD1183A4-12E6-48A9-954D-97F53B69475B}"/>
          </ac:spMkLst>
        </pc:spChg>
        <pc:spChg chg="del">
          <ac:chgData name="Gareth Allott" userId="d67bc1e7-5e6e-4540-bcf9-468a02f7a83e" providerId="ADAL" clId="{73C83929-70DB-46AC-846C-28C43116D9C0}" dt="2021-03-25T15:06:46.999" v="628" actId="478"/>
          <ac:spMkLst>
            <pc:docMk/>
            <pc:sldMk cId="3480095719" sldId="2146845382"/>
            <ac:spMk id="24" creationId="{D90DD1D9-7D67-4A1E-8CCD-CC40061D7A9B}"/>
          </ac:spMkLst>
        </pc:spChg>
      </pc:sldChg>
      <pc:sldChg chg="addSp delSp modSp new mod modTransition modClrScheme chgLayout">
        <pc:chgData name="Gareth Allott" userId="d67bc1e7-5e6e-4540-bcf9-468a02f7a83e" providerId="ADAL" clId="{73C83929-70DB-46AC-846C-28C43116D9C0}" dt="2021-03-26T12:15:39.644" v="4970" actId="1037"/>
        <pc:sldMkLst>
          <pc:docMk/>
          <pc:sldMk cId="3366910351" sldId="2146845383"/>
        </pc:sldMkLst>
        <pc:spChg chg="add mod">
          <ac:chgData name="Gareth Allott" userId="d67bc1e7-5e6e-4540-bcf9-468a02f7a83e" providerId="ADAL" clId="{73C83929-70DB-46AC-846C-28C43116D9C0}" dt="2021-03-25T15:25:32.819" v="1322" actId="20577"/>
          <ac:spMkLst>
            <pc:docMk/>
            <pc:sldMk cId="3366910351" sldId="2146845383"/>
            <ac:spMk id="2" creationId="{A85AF8BD-E457-4D19-9F7A-A39E71231F1A}"/>
          </ac:spMkLst>
        </pc:spChg>
        <pc:spChg chg="add del mod">
          <ac:chgData name="Gareth Allott" userId="d67bc1e7-5e6e-4540-bcf9-468a02f7a83e" providerId="ADAL" clId="{73C83929-70DB-46AC-846C-28C43116D9C0}" dt="2021-03-25T15:25:39.139" v="1323" actId="478"/>
          <ac:spMkLst>
            <pc:docMk/>
            <pc:sldMk cId="3366910351" sldId="2146845383"/>
            <ac:spMk id="3" creationId="{4F92AA19-F636-4D4B-878E-849554906F26}"/>
          </ac:spMkLst>
        </pc:spChg>
        <pc:spChg chg="add del mod">
          <ac:chgData name="Gareth Allott" userId="d67bc1e7-5e6e-4540-bcf9-468a02f7a83e" providerId="ADAL" clId="{73C83929-70DB-46AC-846C-28C43116D9C0}" dt="2021-03-26T12:13:57.999" v="4965" actId="478"/>
          <ac:spMkLst>
            <pc:docMk/>
            <pc:sldMk cId="3366910351" sldId="2146845383"/>
            <ac:spMk id="13" creationId="{2E463014-6F4C-40D7-9E0D-0B1515E16AB4}"/>
          </ac:spMkLst>
        </pc:spChg>
        <pc:graphicFrameChg chg="add mod modGraphic">
          <ac:chgData name="Gareth Allott" userId="d67bc1e7-5e6e-4540-bcf9-468a02f7a83e" providerId="ADAL" clId="{73C83929-70DB-46AC-846C-28C43116D9C0}" dt="2021-03-25T15:38:47.052" v="1715" actId="2165"/>
          <ac:graphicFrameMkLst>
            <pc:docMk/>
            <pc:sldMk cId="3366910351" sldId="2146845383"/>
            <ac:graphicFrameMk id="12" creationId="{1D8652F0-08E2-40C8-BCC7-D0D462A06A40}"/>
          </ac:graphicFrameMkLst>
        </pc:graphicFrameChg>
        <pc:picChg chg="add del mod">
          <ac:chgData name="Gareth Allott" userId="d67bc1e7-5e6e-4540-bcf9-468a02f7a83e" providerId="ADAL" clId="{73C83929-70DB-46AC-846C-28C43116D9C0}" dt="2021-03-25T15:27:29.571" v="1340" actId="478"/>
          <ac:picMkLst>
            <pc:docMk/>
            <pc:sldMk cId="3366910351" sldId="2146845383"/>
            <ac:picMk id="5" creationId="{9A315A9C-54B9-44F6-9BDE-7703E6D36165}"/>
          </ac:picMkLst>
        </pc:picChg>
        <pc:picChg chg="add mod">
          <ac:chgData name="Gareth Allott" userId="d67bc1e7-5e6e-4540-bcf9-468a02f7a83e" providerId="ADAL" clId="{73C83929-70DB-46AC-846C-28C43116D9C0}" dt="2021-03-25T15:30:48.489" v="1442" actId="1038"/>
          <ac:picMkLst>
            <pc:docMk/>
            <pc:sldMk cId="3366910351" sldId="2146845383"/>
            <ac:picMk id="7" creationId="{2328FEC1-5F83-4928-BA52-BC860665315F}"/>
          </ac:picMkLst>
        </pc:picChg>
        <pc:picChg chg="add mod">
          <ac:chgData name="Gareth Allott" userId="d67bc1e7-5e6e-4540-bcf9-468a02f7a83e" providerId="ADAL" clId="{73C83929-70DB-46AC-846C-28C43116D9C0}" dt="2021-03-26T12:15:39.644" v="4970" actId="1037"/>
          <ac:picMkLst>
            <pc:docMk/>
            <pc:sldMk cId="3366910351" sldId="2146845383"/>
            <ac:picMk id="9" creationId="{CC8AF076-0487-4827-B699-62A17B0F0599}"/>
          </ac:picMkLst>
        </pc:picChg>
        <pc:picChg chg="add mod modCrop">
          <ac:chgData name="Gareth Allott" userId="d67bc1e7-5e6e-4540-bcf9-468a02f7a83e" providerId="ADAL" clId="{73C83929-70DB-46AC-846C-28C43116D9C0}" dt="2021-03-25T15:33:29.204" v="1582" actId="1037"/>
          <ac:picMkLst>
            <pc:docMk/>
            <pc:sldMk cId="3366910351" sldId="2146845383"/>
            <ac:picMk id="11" creationId="{44150B8F-49F8-4A75-ACE4-0139266FDF45}"/>
          </ac:picMkLst>
        </pc:picChg>
      </pc:sldChg>
      <pc:sldChg chg="addSp delSp modSp add del mod">
        <pc:chgData name="Gareth Allott" userId="d67bc1e7-5e6e-4540-bcf9-468a02f7a83e" providerId="ADAL" clId="{73C83929-70DB-46AC-846C-28C43116D9C0}" dt="2021-03-25T15:45:54.117" v="1847" actId="47"/>
        <pc:sldMkLst>
          <pc:docMk/>
          <pc:sldMk cId="2889583356" sldId="2146845384"/>
        </pc:sldMkLst>
        <pc:spChg chg="add del mod">
          <ac:chgData name="Gareth Allott" userId="d67bc1e7-5e6e-4540-bcf9-468a02f7a83e" providerId="ADAL" clId="{73C83929-70DB-46AC-846C-28C43116D9C0}" dt="2021-03-25T15:40:25.872" v="1757" actId="1076"/>
          <ac:spMkLst>
            <pc:docMk/>
            <pc:sldMk cId="2889583356" sldId="2146845384"/>
            <ac:spMk id="7" creationId="{B5DDCAD4-B544-4BA6-8202-AFDF9A70B494}"/>
          </ac:spMkLst>
        </pc:spChg>
        <pc:spChg chg="mod">
          <ac:chgData name="Gareth Allott" userId="d67bc1e7-5e6e-4540-bcf9-468a02f7a83e" providerId="ADAL" clId="{73C83929-70DB-46AC-846C-28C43116D9C0}" dt="2021-03-25T15:39:22.384" v="1742" actId="20577"/>
          <ac:spMkLst>
            <pc:docMk/>
            <pc:sldMk cId="2889583356" sldId="2146845384"/>
            <ac:spMk id="8" creationId="{45F715D4-0440-4F2A-B10A-C5E6679D8E46}"/>
          </ac:spMkLst>
        </pc:spChg>
        <pc:spChg chg="del">
          <ac:chgData name="Gareth Allott" userId="d67bc1e7-5e6e-4540-bcf9-468a02f7a83e" providerId="ADAL" clId="{73C83929-70DB-46AC-846C-28C43116D9C0}" dt="2021-03-25T15:39:24.945" v="1743" actId="478"/>
          <ac:spMkLst>
            <pc:docMk/>
            <pc:sldMk cId="2889583356" sldId="2146845384"/>
            <ac:spMk id="13" creationId="{2469A092-A161-4D41-88A5-0ACDFCE29DF5}"/>
          </ac:spMkLst>
        </pc:spChg>
        <pc:picChg chg="del">
          <ac:chgData name="Gareth Allott" userId="d67bc1e7-5e6e-4540-bcf9-468a02f7a83e" providerId="ADAL" clId="{73C83929-70DB-46AC-846C-28C43116D9C0}" dt="2021-03-25T15:40:09.168" v="1752" actId="478"/>
          <ac:picMkLst>
            <pc:docMk/>
            <pc:sldMk cId="2889583356" sldId="2146845384"/>
            <ac:picMk id="3" creationId="{DE9240B9-B268-46DA-8919-F0E5E5390426}"/>
          </ac:picMkLst>
        </pc:picChg>
        <pc:picChg chg="add mod ord modCrop">
          <ac:chgData name="Gareth Allott" userId="d67bc1e7-5e6e-4540-bcf9-468a02f7a83e" providerId="ADAL" clId="{73C83929-70DB-46AC-846C-28C43116D9C0}" dt="2021-03-25T15:40:21.519" v="1756" actId="167"/>
          <ac:picMkLst>
            <pc:docMk/>
            <pc:sldMk cId="2889583356" sldId="2146845384"/>
            <ac:picMk id="4" creationId="{51D0198F-B57E-49DF-B54A-18A7E257AF44}"/>
          </ac:picMkLst>
        </pc:picChg>
        <pc:picChg chg="mod">
          <ac:chgData name="Gareth Allott" userId="d67bc1e7-5e6e-4540-bcf9-468a02f7a83e" providerId="ADAL" clId="{73C83929-70DB-46AC-846C-28C43116D9C0}" dt="2021-03-25T15:40:04.955" v="1748" actId="962"/>
          <ac:picMkLst>
            <pc:docMk/>
            <pc:sldMk cId="2889583356" sldId="2146845384"/>
            <ac:picMk id="15" creationId="{536587D1-A4F4-4D0D-A6EA-70D353414960}"/>
          </ac:picMkLst>
        </pc:picChg>
        <pc:cxnChg chg="del">
          <ac:chgData name="Gareth Allott" userId="d67bc1e7-5e6e-4540-bcf9-468a02f7a83e" providerId="ADAL" clId="{73C83929-70DB-46AC-846C-28C43116D9C0}" dt="2021-03-25T15:39:24.945" v="1743" actId="478"/>
          <ac:cxnSpMkLst>
            <pc:docMk/>
            <pc:sldMk cId="2889583356" sldId="2146845384"/>
            <ac:cxnSpMk id="14" creationId="{61992EF8-3C27-42E1-B089-917F5A790DD1}"/>
          </ac:cxnSpMkLst>
        </pc:cxnChg>
      </pc:sldChg>
      <pc:sldChg chg="modSp add del mod modTransition">
        <pc:chgData name="Gareth Allott" userId="d67bc1e7-5e6e-4540-bcf9-468a02f7a83e" providerId="ADAL" clId="{73C83929-70DB-46AC-846C-28C43116D9C0}" dt="2021-03-25T15:27:28.681" v="1339" actId="47"/>
        <pc:sldMkLst>
          <pc:docMk/>
          <pc:sldMk cId="3629073924" sldId="2146845384"/>
        </pc:sldMkLst>
        <pc:picChg chg="mod">
          <ac:chgData name="Gareth Allott" userId="d67bc1e7-5e6e-4540-bcf9-468a02f7a83e" providerId="ADAL" clId="{73C83929-70DB-46AC-846C-28C43116D9C0}" dt="2021-03-25T15:26:46.547" v="1327" actId="207"/>
          <ac:picMkLst>
            <pc:docMk/>
            <pc:sldMk cId="3629073924" sldId="2146845384"/>
            <ac:picMk id="5" creationId="{9A315A9C-54B9-44F6-9BDE-7703E6D36165}"/>
          </ac:picMkLst>
        </pc:picChg>
      </pc:sldChg>
      <pc:sldChg chg="addSp delSp modSp add del mod">
        <pc:chgData name="Gareth Allott" userId="d67bc1e7-5e6e-4540-bcf9-468a02f7a83e" providerId="ADAL" clId="{73C83929-70DB-46AC-846C-28C43116D9C0}" dt="2021-03-25T15:45:56.118" v="1848" actId="47"/>
        <pc:sldMkLst>
          <pc:docMk/>
          <pc:sldMk cId="3634431106" sldId="2146845385"/>
        </pc:sldMkLst>
        <pc:spChg chg="mod">
          <ac:chgData name="Gareth Allott" userId="d67bc1e7-5e6e-4540-bcf9-468a02f7a83e" providerId="ADAL" clId="{73C83929-70DB-46AC-846C-28C43116D9C0}" dt="2021-03-25T15:45:12.881" v="1842" actId="1076"/>
          <ac:spMkLst>
            <pc:docMk/>
            <pc:sldMk cId="3634431106" sldId="2146845385"/>
            <ac:spMk id="7" creationId="{B5DDCAD4-B544-4BA6-8202-AFDF9A70B494}"/>
          </ac:spMkLst>
        </pc:spChg>
        <pc:spChg chg="mod">
          <ac:chgData name="Gareth Allott" userId="d67bc1e7-5e6e-4540-bcf9-468a02f7a83e" providerId="ADAL" clId="{73C83929-70DB-46AC-846C-28C43116D9C0}" dt="2021-03-25T15:44:41.025" v="1826" actId="20577"/>
          <ac:spMkLst>
            <pc:docMk/>
            <pc:sldMk cId="3634431106" sldId="2146845385"/>
            <ac:spMk id="8" creationId="{45F715D4-0440-4F2A-B10A-C5E6679D8E46}"/>
          </ac:spMkLst>
        </pc:spChg>
        <pc:picChg chg="add del mod ord modCrop">
          <ac:chgData name="Gareth Allott" userId="d67bc1e7-5e6e-4540-bcf9-468a02f7a83e" providerId="ADAL" clId="{73C83929-70DB-46AC-846C-28C43116D9C0}" dt="2021-03-25T15:45:14.244" v="1843" actId="478"/>
          <ac:picMkLst>
            <pc:docMk/>
            <pc:sldMk cId="3634431106" sldId="2146845385"/>
            <ac:picMk id="3" creationId="{2CEADC0A-4243-4D11-A1BF-32633F42B9FA}"/>
          </ac:picMkLst>
        </pc:picChg>
        <pc:picChg chg="del">
          <ac:chgData name="Gareth Allott" userId="d67bc1e7-5e6e-4540-bcf9-468a02f7a83e" providerId="ADAL" clId="{73C83929-70DB-46AC-846C-28C43116D9C0}" dt="2021-03-25T15:41:24.703" v="1769" actId="478"/>
          <ac:picMkLst>
            <pc:docMk/>
            <pc:sldMk cId="3634431106" sldId="2146845385"/>
            <ac:picMk id="4" creationId="{51D0198F-B57E-49DF-B54A-18A7E257AF44}"/>
          </ac:picMkLst>
        </pc:picChg>
        <pc:picChg chg="add del">
          <ac:chgData name="Gareth Allott" userId="d67bc1e7-5e6e-4540-bcf9-468a02f7a83e" providerId="ADAL" clId="{73C83929-70DB-46AC-846C-28C43116D9C0}" dt="2021-03-25T15:41:23.137" v="1768" actId="478"/>
          <ac:picMkLst>
            <pc:docMk/>
            <pc:sldMk cId="3634431106" sldId="2146845385"/>
            <ac:picMk id="15" creationId="{536587D1-A4F4-4D0D-A6EA-70D353414960}"/>
          </ac:picMkLst>
        </pc:picChg>
      </pc:sldChg>
      <pc:sldChg chg="addSp delSp modSp add del mod">
        <pc:chgData name="Gareth Allott" userId="d67bc1e7-5e6e-4540-bcf9-468a02f7a83e" providerId="ADAL" clId="{73C83929-70DB-46AC-846C-28C43116D9C0}" dt="2021-03-25T15:45:56.118" v="1848" actId="47"/>
        <pc:sldMkLst>
          <pc:docMk/>
          <pc:sldMk cId="1839984507" sldId="2146845386"/>
        </pc:sldMkLst>
        <pc:spChg chg="mod">
          <ac:chgData name="Gareth Allott" userId="d67bc1e7-5e6e-4540-bcf9-468a02f7a83e" providerId="ADAL" clId="{73C83929-70DB-46AC-846C-28C43116D9C0}" dt="2021-03-25T15:45:09.327" v="1841" actId="1076"/>
          <ac:spMkLst>
            <pc:docMk/>
            <pc:sldMk cId="1839984507" sldId="2146845386"/>
            <ac:spMk id="7" creationId="{B5DDCAD4-B544-4BA6-8202-AFDF9A70B494}"/>
          </ac:spMkLst>
        </pc:spChg>
        <pc:spChg chg="mod">
          <ac:chgData name="Gareth Allott" userId="d67bc1e7-5e6e-4540-bcf9-468a02f7a83e" providerId="ADAL" clId="{73C83929-70DB-46AC-846C-28C43116D9C0}" dt="2021-03-25T15:44:44.937" v="1831" actId="20577"/>
          <ac:spMkLst>
            <pc:docMk/>
            <pc:sldMk cId="1839984507" sldId="2146845386"/>
            <ac:spMk id="8" creationId="{45F715D4-0440-4F2A-B10A-C5E6679D8E46}"/>
          </ac:spMkLst>
        </pc:spChg>
        <pc:picChg chg="del">
          <ac:chgData name="Gareth Allott" userId="d67bc1e7-5e6e-4540-bcf9-468a02f7a83e" providerId="ADAL" clId="{73C83929-70DB-46AC-846C-28C43116D9C0}" dt="2021-03-25T15:42:57.051" v="1804" actId="478"/>
          <ac:picMkLst>
            <pc:docMk/>
            <pc:sldMk cId="1839984507" sldId="2146845386"/>
            <ac:picMk id="3" creationId="{2CEADC0A-4243-4D11-A1BF-32633F42B9FA}"/>
          </ac:picMkLst>
        </pc:picChg>
        <pc:picChg chg="add del mod ord modCrop">
          <ac:chgData name="Gareth Allott" userId="d67bc1e7-5e6e-4540-bcf9-468a02f7a83e" providerId="ADAL" clId="{73C83929-70DB-46AC-846C-28C43116D9C0}" dt="2021-03-25T15:44:53.600" v="1836" actId="478"/>
          <ac:picMkLst>
            <pc:docMk/>
            <pc:sldMk cId="1839984507" sldId="2146845386"/>
            <ac:picMk id="4" creationId="{5854BB16-F575-4675-BB9C-EF87C5C1BD77}"/>
          </ac:picMkLst>
        </pc:picChg>
        <pc:picChg chg="add del mod">
          <ac:chgData name="Gareth Allott" userId="d67bc1e7-5e6e-4540-bcf9-468a02f7a83e" providerId="ADAL" clId="{73C83929-70DB-46AC-846C-28C43116D9C0}" dt="2021-03-25T15:44:17.675" v="1813" actId="21"/>
          <ac:picMkLst>
            <pc:docMk/>
            <pc:sldMk cId="1839984507" sldId="2146845386"/>
            <ac:picMk id="6" creationId="{9AFAF868-E981-435A-91A4-8DCF61F21081}"/>
          </ac:picMkLst>
        </pc:picChg>
        <pc:picChg chg="add mod ord modCrop">
          <ac:chgData name="Gareth Allott" userId="d67bc1e7-5e6e-4540-bcf9-468a02f7a83e" providerId="ADAL" clId="{73C83929-70DB-46AC-846C-28C43116D9C0}" dt="2021-03-25T15:45:05.719" v="1840" actId="167"/>
          <ac:picMkLst>
            <pc:docMk/>
            <pc:sldMk cId="1839984507" sldId="2146845386"/>
            <ac:picMk id="10" creationId="{DDA89836-1098-4CEE-810F-C03DB6351785}"/>
          </ac:picMkLst>
        </pc:picChg>
      </pc:sldChg>
      <pc:sldChg chg="addSp delSp modSp add mod">
        <pc:chgData name="Gareth Allott" userId="d67bc1e7-5e6e-4540-bcf9-468a02f7a83e" providerId="ADAL" clId="{73C83929-70DB-46AC-846C-28C43116D9C0}" dt="2021-03-25T15:45:52.585" v="1846"/>
        <pc:sldMkLst>
          <pc:docMk/>
          <pc:sldMk cId="878225965" sldId="2146845387"/>
        </pc:sldMkLst>
        <pc:spChg chg="del">
          <ac:chgData name="Gareth Allott" userId="d67bc1e7-5e6e-4540-bcf9-468a02f7a83e" providerId="ADAL" clId="{73C83929-70DB-46AC-846C-28C43116D9C0}" dt="2021-03-25T15:45:49.145" v="1845" actId="478"/>
          <ac:spMkLst>
            <pc:docMk/>
            <pc:sldMk cId="878225965" sldId="2146845387"/>
            <ac:spMk id="8" creationId="{45F715D4-0440-4F2A-B10A-C5E6679D8E46}"/>
          </ac:spMkLst>
        </pc:spChg>
        <pc:spChg chg="add mod">
          <ac:chgData name="Gareth Allott" userId="d67bc1e7-5e6e-4540-bcf9-468a02f7a83e" providerId="ADAL" clId="{73C83929-70DB-46AC-846C-28C43116D9C0}" dt="2021-03-25T15:45:52.585" v="1846"/>
          <ac:spMkLst>
            <pc:docMk/>
            <pc:sldMk cId="878225965" sldId="2146845387"/>
            <ac:spMk id="9" creationId="{D6FAE05A-13DB-4752-9069-0AEF38BA1591}"/>
          </ac:spMkLst>
        </pc:spChg>
        <pc:spChg chg="del">
          <ac:chgData name="Gareth Allott" userId="d67bc1e7-5e6e-4540-bcf9-468a02f7a83e" providerId="ADAL" clId="{73C83929-70DB-46AC-846C-28C43116D9C0}" dt="2021-03-25T15:45:49.145" v="1845" actId="478"/>
          <ac:spMkLst>
            <pc:docMk/>
            <pc:sldMk cId="878225965" sldId="2146845387"/>
            <ac:spMk id="13" creationId="{2469A092-A161-4D41-88A5-0ACDFCE29DF5}"/>
          </ac:spMkLst>
        </pc:spChg>
        <pc:cxnChg chg="add mod">
          <ac:chgData name="Gareth Allott" userId="d67bc1e7-5e6e-4540-bcf9-468a02f7a83e" providerId="ADAL" clId="{73C83929-70DB-46AC-846C-28C43116D9C0}" dt="2021-03-25T15:45:52.585" v="1846"/>
          <ac:cxnSpMkLst>
            <pc:docMk/>
            <pc:sldMk cId="878225965" sldId="2146845387"/>
            <ac:cxnSpMk id="10" creationId="{8F3ED528-006F-4293-82DD-EA3F3F9F2B08}"/>
          </ac:cxnSpMkLst>
        </pc:cxnChg>
        <pc:cxnChg chg="del">
          <ac:chgData name="Gareth Allott" userId="d67bc1e7-5e6e-4540-bcf9-468a02f7a83e" providerId="ADAL" clId="{73C83929-70DB-46AC-846C-28C43116D9C0}" dt="2021-03-25T15:45:49.145" v="1845" actId="478"/>
          <ac:cxnSpMkLst>
            <pc:docMk/>
            <pc:sldMk cId="878225965" sldId="2146845387"/>
            <ac:cxnSpMk id="12" creationId="{6386028D-BB43-4C82-B42F-AD37BD3C1BDD}"/>
          </ac:cxnSpMkLst>
        </pc:cxnChg>
        <pc:cxnChg chg="del">
          <ac:chgData name="Gareth Allott" userId="d67bc1e7-5e6e-4540-bcf9-468a02f7a83e" providerId="ADAL" clId="{73C83929-70DB-46AC-846C-28C43116D9C0}" dt="2021-03-25T15:45:49.145" v="1845" actId="478"/>
          <ac:cxnSpMkLst>
            <pc:docMk/>
            <pc:sldMk cId="878225965" sldId="2146845387"/>
            <ac:cxnSpMk id="14" creationId="{61992EF8-3C27-42E1-B089-917F5A790DD1}"/>
          </ac:cxnSpMkLst>
        </pc:cxnChg>
      </pc:sldChg>
      <pc:sldChg chg="modSp add mod">
        <pc:chgData name="Gareth Allott" userId="d67bc1e7-5e6e-4540-bcf9-468a02f7a83e" providerId="ADAL" clId="{73C83929-70DB-46AC-846C-28C43116D9C0}" dt="2021-03-26T09:34:46.964" v="2675" actId="20577"/>
        <pc:sldMkLst>
          <pc:docMk/>
          <pc:sldMk cId="216892873" sldId="2146845388"/>
        </pc:sldMkLst>
        <pc:spChg chg="mod">
          <ac:chgData name="Gareth Allott" userId="d67bc1e7-5e6e-4540-bcf9-468a02f7a83e" providerId="ADAL" clId="{73C83929-70DB-46AC-846C-28C43116D9C0}" dt="2021-03-26T09:34:46.964" v="2675" actId="20577"/>
          <ac:spMkLst>
            <pc:docMk/>
            <pc:sldMk cId="216892873" sldId="2146845388"/>
            <ac:spMk id="9" creationId="{D6FAE05A-13DB-4752-9069-0AEF38BA1591}"/>
          </ac:spMkLst>
        </pc:spChg>
      </pc:sldChg>
      <pc:sldChg chg="modSp add mod">
        <pc:chgData name="Gareth Allott" userId="d67bc1e7-5e6e-4540-bcf9-468a02f7a83e" providerId="ADAL" clId="{73C83929-70DB-46AC-846C-28C43116D9C0}" dt="2021-03-25T15:46:09.962" v="1870" actId="20577"/>
        <pc:sldMkLst>
          <pc:docMk/>
          <pc:sldMk cId="2742656979" sldId="2146845389"/>
        </pc:sldMkLst>
        <pc:spChg chg="mod">
          <ac:chgData name="Gareth Allott" userId="d67bc1e7-5e6e-4540-bcf9-468a02f7a83e" providerId="ADAL" clId="{73C83929-70DB-46AC-846C-28C43116D9C0}" dt="2021-03-25T15:46:09.962" v="1870" actId="20577"/>
          <ac:spMkLst>
            <pc:docMk/>
            <pc:sldMk cId="2742656979" sldId="2146845389"/>
            <ac:spMk id="9" creationId="{D6FAE05A-13DB-4752-9069-0AEF38BA1591}"/>
          </ac:spMkLst>
        </pc:spChg>
      </pc:sldChg>
      <pc:sldChg chg="addSp delSp modSp new mod modClrScheme chgLayout">
        <pc:chgData name="Gareth Allott" userId="d67bc1e7-5e6e-4540-bcf9-468a02f7a83e" providerId="ADAL" clId="{73C83929-70DB-46AC-846C-28C43116D9C0}" dt="2021-03-26T16:10:26.320" v="6189" actId="13926"/>
        <pc:sldMkLst>
          <pc:docMk/>
          <pc:sldMk cId="874096528" sldId="2146845390"/>
        </pc:sldMkLst>
        <pc:spChg chg="add mod">
          <ac:chgData name="Gareth Allott" userId="d67bc1e7-5e6e-4540-bcf9-468a02f7a83e" providerId="ADAL" clId="{73C83929-70DB-46AC-846C-28C43116D9C0}" dt="2021-03-25T15:49:38.147" v="2386" actId="20577"/>
          <ac:spMkLst>
            <pc:docMk/>
            <pc:sldMk cId="874096528" sldId="2146845390"/>
            <ac:spMk id="2" creationId="{5D868E05-EFCE-488C-BB5F-FB19C6753A38}"/>
          </ac:spMkLst>
        </pc:spChg>
        <pc:spChg chg="add mod">
          <ac:chgData name="Gareth Allott" userId="d67bc1e7-5e6e-4540-bcf9-468a02f7a83e" providerId="ADAL" clId="{73C83929-70DB-46AC-846C-28C43116D9C0}" dt="2021-03-26T09:34:22.435" v="2650" actId="404"/>
          <ac:spMkLst>
            <pc:docMk/>
            <pc:sldMk cId="874096528" sldId="2146845390"/>
            <ac:spMk id="3" creationId="{C5BDECBE-CF40-48A2-8DFF-A9343DD53BD9}"/>
          </ac:spMkLst>
        </pc:spChg>
        <pc:spChg chg="add del mod">
          <ac:chgData name="Gareth Allott" userId="d67bc1e7-5e6e-4540-bcf9-468a02f7a83e" providerId="ADAL" clId="{73C83929-70DB-46AC-846C-28C43116D9C0}" dt="2021-03-25T15:46:44.010" v="1880" actId="478"/>
          <ac:spMkLst>
            <pc:docMk/>
            <pc:sldMk cId="874096528" sldId="2146845390"/>
            <ac:spMk id="4" creationId="{3848DBF7-18FB-46A3-8091-5E73FCE7F2EA}"/>
          </ac:spMkLst>
        </pc:spChg>
        <pc:spChg chg="add del mod">
          <ac:chgData name="Gareth Allott" userId="d67bc1e7-5e6e-4540-bcf9-468a02f7a83e" providerId="ADAL" clId="{73C83929-70DB-46AC-846C-28C43116D9C0}" dt="2021-03-25T15:46:44.010" v="1880" actId="478"/>
          <ac:spMkLst>
            <pc:docMk/>
            <pc:sldMk cId="874096528" sldId="2146845390"/>
            <ac:spMk id="5" creationId="{10A73894-0673-4146-BC23-35B381544466}"/>
          </ac:spMkLst>
        </pc:spChg>
        <pc:spChg chg="add del mod">
          <ac:chgData name="Gareth Allott" userId="d67bc1e7-5e6e-4540-bcf9-468a02f7a83e" providerId="ADAL" clId="{73C83929-70DB-46AC-846C-28C43116D9C0}" dt="2021-03-25T15:46:44.010" v="1880" actId="478"/>
          <ac:spMkLst>
            <pc:docMk/>
            <pc:sldMk cId="874096528" sldId="2146845390"/>
            <ac:spMk id="6" creationId="{8422515F-A63C-4A74-8F8B-707D0EFCD161}"/>
          </ac:spMkLst>
        </pc:spChg>
        <pc:spChg chg="add del mod">
          <ac:chgData name="Gareth Allott" userId="d67bc1e7-5e6e-4540-bcf9-468a02f7a83e" providerId="ADAL" clId="{73C83929-70DB-46AC-846C-28C43116D9C0}" dt="2021-03-25T15:46:44.010" v="1880" actId="478"/>
          <ac:spMkLst>
            <pc:docMk/>
            <pc:sldMk cId="874096528" sldId="2146845390"/>
            <ac:spMk id="10" creationId="{F9EF4ADD-732A-4F7C-88D7-CA869FFD0870}"/>
          </ac:spMkLst>
        </pc:spChg>
        <pc:spChg chg="add del mod">
          <ac:chgData name="Gareth Allott" userId="d67bc1e7-5e6e-4540-bcf9-468a02f7a83e" providerId="ADAL" clId="{73C83929-70DB-46AC-846C-28C43116D9C0}" dt="2021-03-25T15:46:44.010" v="1880" actId="478"/>
          <ac:spMkLst>
            <pc:docMk/>
            <pc:sldMk cId="874096528" sldId="2146845390"/>
            <ac:spMk id="12" creationId="{C5E41653-2CD8-4527-8FCA-42689628D46C}"/>
          </ac:spMkLst>
        </pc:spChg>
        <pc:spChg chg="add del mod">
          <ac:chgData name="Gareth Allott" userId="d67bc1e7-5e6e-4540-bcf9-468a02f7a83e" providerId="ADAL" clId="{73C83929-70DB-46AC-846C-28C43116D9C0}" dt="2021-03-25T15:46:44.010" v="1880" actId="478"/>
          <ac:spMkLst>
            <pc:docMk/>
            <pc:sldMk cId="874096528" sldId="2146845390"/>
            <ac:spMk id="13" creationId="{E4A34780-7195-4DC7-93A1-FC2F353CC80F}"/>
          </ac:spMkLst>
        </pc:spChg>
        <pc:spChg chg="add mod ord">
          <ac:chgData name="Gareth Allott" userId="d67bc1e7-5e6e-4540-bcf9-468a02f7a83e" providerId="ADAL" clId="{73C83929-70DB-46AC-846C-28C43116D9C0}" dt="2021-03-26T09:34:26.510" v="2651" actId="14100"/>
          <ac:spMkLst>
            <pc:docMk/>
            <pc:sldMk cId="874096528" sldId="2146845390"/>
            <ac:spMk id="15" creationId="{514E8FF3-0B84-4ABE-B050-06F2FF56D991}"/>
          </ac:spMkLst>
        </pc:spChg>
        <pc:spChg chg="add del mod">
          <ac:chgData name="Gareth Allott" userId="d67bc1e7-5e6e-4540-bcf9-468a02f7a83e" providerId="ADAL" clId="{73C83929-70DB-46AC-846C-28C43116D9C0}" dt="2021-03-26T09:54:02.621" v="3705"/>
          <ac:spMkLst>
            <pc:docMk/>
            <pc:sldMk cId="874096528" sldId="2146845390"/>
            <ac:spMk id="16" creationId="{18206207-9B8A-4E50-A272-4150CD9FDCCA}"/>
          </ac:spMkLst>
        </pc:spChg>
        <pc:spChg chg="add del mod">
          <ac:chgData name="Gareth Allott" userId="d67bc1e7-5e6e-4540-bcf9-468a02f7a83e" providerId="ADAL" clId="{73C83929-70DB-46AC-846C-28C43116D9C0}" dt="2021-03-26T09:54:02.621" v="3705"/>
          <ac:spMkLst>
            <pc:docMk/>
            <pc:sldMk cId="874096528" sldId="2146845390"/>
            <ac:spMk id="17" creationId="{229B5CEB-6CE1-4F88-9ECA-D05F58AE1422}"/>
          </ac:spMkLst>
        </pc:spChg>
        <pc:spChg chg="add del mod">
          <ac:chgData name="Gareth Allott" userId="d67bc1e7-5e6e-4540-bcf9-468a02f7a83e" providerId="ADAL" clId="{73C83929-70DB-46AC-846C-28C43116D9C0}" dt="2021-03-26T09:54:02.621" v="3705"/>
          <ac:spMkLst>
            <pc:docMk/>
            <pc:sldMk cId="874096528" sldId="2146845390"/>
            <ac:spMk id="18" creationId="{CF38E2CA-73C4-435E-95EA-FEACCC3D1A78}"/>
          </ac:spMkLst>
        </pc:spChg>
        <pc:spChg chg="add del mod">
          <ac:chgData name="Gareth Allott" userId="d67bc1e7-5e6e-4540-bcf9-468a02f7a83e" providerId="ADAL" clId="{73C83929-70DB-46AC-846C-28C43116D9C0}" dt="2021-03-26T09:54:02.621" v="3705"/>
          <ac:spMkLst>
            <pc:docMk/>
            <pc:sldMk cId="874096528" sldId="2146845390"/>
            <ac:spMk id="21" creationId="{6A38D67F-8237-4BF6-89C8-FEFCB0AAD754}"/>
          </ac:spMkLst>
        </pc:spChg>
        <pc:spChg chg="add del mod">
          <ac:chgData name="Gareth Allott" userId="d67bc1e7-5e6e-4540-bcf9-468a02f7a83e" providerId="ADAL" clId="{73C83929-70DB-46AC-846C-28C43116D9C0}" dt="2021-03-26T09:54:02.621" v="3705"/>
          <ac:spMkLst>
            <pc:docMk/>
            <pc:sldMk cId="874096528" sldId="2146845390"/>
            <ac:spMk id="23" creationId="{E26D05C3-1D1B-47E7-9B4A-BBAE8D836FC0}"/>
          </ac:spMkLst>
        </pc:spChg>
        <pc:spChg chg="add del mod">
          <ac:chgData name="Gareth Allott" userId="d67bc1e7-5e6e-4540-bcf9-468a02f7a83e" providerId="ADAL" clId="{73C83929-70DB-46AC-846C-28C43116D9C0}" dt="2021-03-26T09:54:02.621" v="3705"/>
          <ac:spMkLst>
            <pc:docMk/>
            <pc:sldMk cId="874096528" sldId="2146845390"/>
            <ac:spMk id="24" creationId="{F945A050-E038-4FFE-B224-F44B743B083A}"/>
          </ac:spMkLst>
        </pc:spChg>
        <pc:spChg chg="add del mod">
          <ac:chgData name="Gareth Allott" userId="d67bc1e7-5e6e-4540-bcf9-468a02f7a83e" providerId="ADAL" clId="{73C83929-70DB-46AC-846C-28C43116D9C0}" dt="2021-03-26T09:54:02.621" v="3705"/>
          <ac:spMkLst>
            <pc:docMk/>
            <pc:sldMk cId="874096528" sldId="2146845390"/>
            <ac:spMk id="26" creationId="{CAF73B7E-8FCD-4409-A65B-8BF736467686}"/>
          </ac:spMkLst>
        </pc:spChg>
        <pc:spChg chg="add del mod">
          <ac:chgData name="Gareth Allott" userId="d67bc1e7-5e6e-4540-bcf9-468a02f7a83e" providerId="ADAL" clId="{73C83929-70DB-46AC-846C-28C43116D9C0}" dt="2021-03-26T09:54:02.621" v="3705"/>
          <ac:spMkLst>
            <pc:docMk/>
            <pc:sldMk cId="874096528" sldId="2146845390"/>
            <ac:spMk id="27" creationId="{ADD28CD5-0087-4FE6-872D-EBB92964F481}"/>
          </ac:spMkLst>
        </pc:spChg>
        <pc:spChg chg="add del mod">
          <ac:chgData name="Gareth Allott" userId="d67bc1e7-5e6e-4540-bcf9-468a02f7a83e" providerId="ADAL" clId="{73C83929-70DB-46AC-846C-28C43116D9C0}" dt="2021-03-26T09:54:02.621" v="3705"/>
          <ac:spMkLst>
            <pc:docMk/>
            <pc:sldMk cId="874096528" sldId="2146845390"/>
            <ac:spMk id="28" creationId="{74A9084D-88FA-4BB7-B28A-F9795BC8691C}"/>
          </ac:spMkLst>
        </pc:spChg>
        <pc:spChg chg="add del mod">
          <ac:chgData name="Gareth Allott" userId="d67bc1e7-5e6e-4540-bcf9-468a02f7a83e" providerId="ADAL" clId="{73C83929-70DB-46AC-846C-28C43116D9C0}" dt="2021-03-26T09:54:02.621" v="3705"/>
          <ac:spMkLst>
            <pc:docMk/>
            <pc:sldMk cId="874096528" sldId="2146845390"/>
            <ac:spMk id="30" creationId="{63CCEB60-B56A-40E1-A988-A78DFED19606}"/>
          </ac:spMkLst>
        </pc:spChg>
        <pc:spChg chg="add del mod">
          <ac:chgData name="Gareth Allott" userId="d67bc1e7-5e6e-4540-bcf9-468a02f7a83e" providerId="ADAL" clId="{73C83929-70DB-46AC-846C-28C43116D9C0}" dt="2021-03-26T09:54:02.621" v="3705"/>
          <ac:spMkLst>
            <pc:docMk/>
            <pc:sldMk cId="874096528" sldId="2146845390"/>
            <ac:spMk id="32" creationId="{F65CB501-98B6-44BA-870B-10D09DB54B8B}"/>
          </ac:spMkLst>
        </pc:spChg>
        <pc:spChg chg="add del mod">
          <ac:chgData name="Gareth Allott" userId="d67bc1e7-5e6e-4540-bcf9-468a02f7a83e" providerId="ADAL" clId="{73C83929-70DB-46AC-846C-28C43116D9C0}" dt="2021-03-26T09:54:02.621" v="3705"/>
          <ac:spMkLst>
            <pc:docMk/>
            <pc:sldMk cId="874096528" sldId="2146845390"/>
            <ac:spMk id="33" creationId="{CC78A0D9-E302-4C2E-82B7-F68DC71E4932}"/>
          </ac:spMkLst>
        </pc:spChg>
        <pc:spChg chg="add mod">
          <ac:chgData name="Gareth Allott" userId="d67bc1e7-5e6e-4540-bcf9-468a02f7a83e" providerId="ADAL" clId="{73C83929-70DB-46AC-846C-28C43116D9C0}" dt="2021-03-26T16:10:26.320" v="6189" actId="13926"/>
          <ac:spMkLst>
            <pc:docMk/>
            <pc:sldMk cId="874096528" sldId="2146845390"/>
            <ac:spMk id="37" creationId="{20A57729-F1AE-466C-A501-164D31B19492}"/>
          </ac:spMkLst>
        </pc:spChg>
        <pc:picChg chg="add del mod">
          <ac:chgData name="Gareth Allott" userId="d67bc1e7-5e6e-4540-bcf9-468a02f7a83e" providerId="ADAL" clId="{73C83929-70DB-46AC-846C-28C43116D9C0}" dt="2021-03-25T15:46:44.010" v="1880" actId="478"/>
          <ac:picMkLst>
            <pc:docMk/>
            <pc:sldMk cId="874096528" sldId="2146845390"/>
            <ac:picMk id="7" creationId="{0B31CA25-FF5A-4878-B34B-88262EF8310C}"/>
          </ac:picMkLst>
        </pc:picChg>
        <pc:picChg chg="add del mod">
          <ac:chgData name="Gareth Allott" userId="d67bc1e7-5e6e-4540-bcf9-468a02f7a83e" providerId="ADAL" clId="{73C83929-70DB-46AC-846C-28C43116D9C0}" dt="2021-03-25T15:46:44.010" v="1880" actId="478"/>
          <ac:picMkLst>
            <pc:docMk/>
            <pc:sldMk cId="874096528" sldId="2146845390"/>
            <ac:picMk id="8" creationId="{344780A2-D59B-40D0-BBD4-0FC6A870AA7D}"/>
          </ac:picMkLst>
        </pc:picChg>
        <pc:picChg chg="add del mod">
          <ac:chgData name="Gareth Allott" userId="d67bc1e7-5e6e-4540-bcf9-468a02f7a83e" providerId="ADAL" clId="{73C83929-70DB-46AC-846C-28C43116D9C0}" dt="2021-03-25T15:46:44.010" v="1880" actId="478"/>
          <ac:picMkLst>
            <pc:docMk/>
            <pc:sldMk cId="874096528" sldId="2146845390"/>
            <ac:picMk id="11" creationId="{E59438C4-AF63-44A8-9DC5-6CC566E58EFF}"/>
          </ac:picMkLst>
        </pc:picChg>
        <pc:picChg chg="add del mod">
          <ac:chgData name="Gareth Allott" userId="d67bc1e7-5e6e-4540-bcf9-468a02f7a83e" providerId="ADAL" clId="{73C83929-70DB-46AC-846C-28C43116D9C0}" dt="2021-03-25T15:46:44.010" v="1880" actId="478"/>
          <ac:picMkLst>
            <pc:docMk/>
            <pc:sldMk cId="874096528" sldId="2146845390"/>
            <ac:picMk id="14" creationId="{CA5E6D59-CA7C-4DA5-A2FA-8F8CC5A02324}"/>
          </ac:picMkLst>
        </pc:picChg>
        <pc:picChg chg="add del mod">
          <ac:chgData name="Gareth Allott" userId="d67bc1e7-5e6e-4540-bcf9-468a02f7a83e" providerId="ADAL" clId="{73C83929-70DB-46AC-846C-28C43116D9C0}" dt="2021-03-26T09:54:02.621" v="3705"/>
          <ac:picMkLst>
            <pc:docMk/>
            <pc:sldMk cId="874096528" sldId="2146845390"/>
            <ac:picMk id="19" creationId="{32CF6008-8797-4F91-AE3E-83DFEC93353C}"/>
          </ac:picMkLst>
        </pc:picChg>
        <pc:picChg chg="add del mod">
          <ac:chgData name="Gareth Allott" userId="d67bc1e7-5e6e-4540-bcf9-468a02f7a83e" providerId="ADAL" clId="{73C83929-70DB-46AC-846C-28C43116D9C0}" dt="2021-03-26T09:54:02.621" v="3705"/>
          <ac:picMkLst>
            <pc:docMk/>
            <pc:sldMk cId="874096528" sldId="2146845390"/>
            <ac:picMk id="22" creationId="{B20C9C04-572B-4730-A172-2F36186B53A0}"/>
          </ac:picMkLst>
        </pc:picChg>
        <pc:picChg chg="add del mod">
          <ac:chgData name="Gareth Allott" userId="d67bc1e7-5e6e-4540-bcf9-468a02f7a83e" providerId="ADAL" clId="{73C83929-70DB-46AC-846C-28C43116D9C0}" dt="2021-03-26T09:54:02.621" v="3705"/>
          <ac:picMkLst>
            <pc:docMk/>
            <pc:sldMk cId="874096528" sldId="2146845390"/>
            <ac:picMk id="25" creationId="{200F0C1A-C606-47E7-9C4E-C8259FC336B6}"/>
          </ac:picMkLst>
        </pc:picChg>
        <pc:picChg chg="add del mod">
          <ac:chgData name="Gareth Allott" userId="d67bc1e7-5e6e-4540-bcf9-468a02f7a83e" providerId="ADAL" clId="{73C83929-70DB-46AC-846C-28C43116D9C0}" dt="2021-03-26T09:54:02.621" v="3705"/>
          <ac:picMkLst>
            <pc:docMk/>
            <pc:sldMk cId="874096528" sldId="2146845390"/>
            <ac:picMk id="31" creationId="{8113C97C-531E-4EA8-A90F-EA618A5B3A84}"/>
          </ac:picMkLst>
        </pc:picChg>
        <pc:picChg chg="add del mod">
          <ac:chgData name="Gareth Allott" userId="d67bc1e7-5e6e-4540-bcf9-468a02f7a83e" providerId="ADAL" clId="{73C83929-70DB-46AC-846C-28C43116D9C0}" dt="2021-03-26T09:54:02.621" v="3705"/>
          <ac:picMkLst>
            <pc:docMk/>
            <pc:sldMk cId="874096528" sldId="2146845390"/>
            <ac:picMk id="34" creationId="{E863BB97-8299-4E6A-B6E7-23F84B96CFE4}"/>
          </ac:picMkLst>
        </pc:picChg>
        <pc:picChg chg="add del mod">
          <ac:chgData name="Gareth Allott" userId="d67bc1e7-5e6e-4540-bcf9-468a02f7a83e" providerId="ADAL" clId="{73C83929-70DB-46AC-846C-28C43116D9C0}" dt="2021-03-26T09:54:02.621" v="3705"/>
          <ac:picMkLst>
            <pc:docMk/>
            <pc:sldMk cId="874096528" sldId="2146845390"/>
            <ac:picMk id="35" creationId="{6FB8B306-E2FE-4C47-A9BC-B82FE9B7564F}"/>
          </ac:picMkLst>
        </pc:picChg>
        <pc:cxnChg chg="add del mod">
          <ac:chgData name="Gareth Allott" userId="d67bc1e7-5e6e-4540-bcf9-468a02f7a83e" providerId="ADAL" clId="{73C83929-70DB-46AC-846C-28C43116D9C0}" dt="2021-03-25T15:46:44.010" v="1880" actId="478"/>
          <ac:cxnSpMkLst>
            <pc:docMk/>
            <pc:sldMk cId="874096528" sldId="2146845390"/>
            <ac:cxnSpMk id="9" creationId="{ED164FF5-C23B-4303-B589-DD73EA1D3368}"/>
          </ac:cxnSpMkLst>
        </pc:cxnChg>
        <pc:cxnChg chg="add del mod">
          <ac:chgData name="Gareth Allott" userId="d67bc1e7-5e6e-4540-bcf9-468a02f7a83e" providerId="ADAL" clId="{73C83929-70DB-46AC-846C-28C43116D9C0}" dt="2021-03-26T09:54:02.621" v="3705"/>
          <ac:cxnSpMkLst>
            <pc:docMk/>
            <pc:sldMk cId="874096528" sldId="2146845390"/>
            <ac:cxnSpMk id="20" creationId="{650B9BAB-3666-4067-9826-61681A931CF1}"/>
          </ac:cxnSpMkLst>
        </pc:cxnChg>
        <pc:cxnChg chg="add del mod">
          <ac:chgData name="Gareth Allott" userId="d67bc1e7-5e6e-4540-bcf9-468a02f7a83e" providerId="ADAL" clId="{73C83929-70DB-46AC-846C-28C43116D9C0}" dt="2021-03-26T09:54:02.621" v="3705"/>
          <ac:cxnSpMkLst>
            <pc:docMk/>
            <pc:sldMk cId="874096528" sldId="2146845390"/>
            <ac:cxnSpMk id="29" creationId="{1685C16E-8B34-432D-AE73-BBBDD3A1A9D9}"/>
          </ac:cxnSpMkLst>
        </pc:cxnChg>
        <pc:cxnChg chg="add del mod">
          <ac:chgData name="Gareth Allott" userId="d67bc1e7-5e6e-4540-bcf9-468a02f7a83e" providerId="ADAL" clId="{73C83929-70DB-46AC-846C-28C43116D9C0}" dt="2021-03-26T09:54:02.621" v="3705"/>
          <ac:cxnSpMkLst>
            <pc:docMk/>
            <pc:sldMk cId="874096528" sldId="2146845390"/>
            <ac:cxnSpMk id="36" creationId="{57D2F3F3-B136-43A2-9D60-15EAD07E8BCB}"/>
          </ac:cxnSpMkLst>
        </pc:cxnChg>
      </pc:sldChg>
      <pc:sldChg chg="addSp delSp modSp new mod modClrScheme addCm delCm chgLayout">
        <pc:chgData name="Gareth Allott" userId="d67bc1e7-5e6e-4540-bcf9-468a02f7a83e" providerId="ADAL" clId="{73C83929-70DB-46AC-846C-28C43116D9C0}" dt="2021-03-26T12:39:06.538" v="5309" actId="1076"/>
        <pc:sldMkLst>
          <pc:docMk/>
          <pc:sldMk cId="1495903228" sldId="2146845391"/>
        </pc:sldMkLst>
        <pc:spChg chg="add mod">
          <ac:chgData name="Gareth Allott" userId="d67bc1e7-5e6e-4540-bcf9-468a02f7a83e" providerId="ADAL" clId="{73C83929-70DB-46AC-846C-28C43116D9C0}" dt="2021-03-26T09:38:40.454" v="2697" actId="20577"/>
          <ac:spMkLst>
            <pc:docMk/>
            <pc:sldMk cId="1495903228" sldId="2146845391"/>
            <ac:spMk id="2" creationId="{4798D180-47DE-4017-B64E-A97724AE03E2}"/>
          </ac:spMkLst>
        </pc:spChg>
        <pc:spChg chg="add del mod">
          <ac:chgData name="Gareth Allott" userId="d67bc1e7-5e6e-4540-bcf9-468a02f7a83e" providerId="ADAL" clId="{73C83929-70DB-46AC-846C-28C43116D9C0}" dt="2021-03-26T09:38:31.670" v="2678" actId="478"/>
          <ac:spMkLst>
            <pc:docMk/>
            <pc:sldMk cId="1495903228" sldId="2146845391"/>
            <ac:spMk id="3" creationId="{9EA0E283-3EB1-4A15-BAE3-74603F1E3760}"/>
          </ac:spMkLst>
        </pc:spChg>
        <pc:spChg chg="add mod">
          <ac:chgData name="Gareth Allott" userId="d67bc1e7-5e6e-4540-bcf9-468a02f7a83e" providerId="ADAL" clId="{73C83929-70DB-46AC-846C-28C43116D9C0}" dt="2021-03-26T09:39:53.191" v="2960" actId="20577"/>
          <ac:spMkLst>
            <pc:docMk/>
            <pc:sldMk cId="1495903228" sldId="2146845391"/>
            <ac:spMk id="5" creationId="{F0003C2E-EEB6-4539-8368-C5746ABF8A39}"/>
          </ac:spMkLst>
        </pc:spChg>
        <pc:spChg chg="add mod">
          <ac:chgData name="Gareth Allott" userId="d67bc1e7-5e6e-4540-bcf9-468a02f7a83e" providerId="ADAL" clId="{73C83929-70DB-46AC-846C-28C43116D9C0}" dt="2021-03-26T09:45:19.873" v="3418" actId="1036"/>
          <ac:spMkLst>
            <pc:docMk/>
            <pc:sldMk cId="1495903228" sldId="2146845391"/>
            <ac:spMk id="6" creationId="{53B308F3-1948-4AFB-A493-9A6F9776EBAC}"/>
          </ac:spMkLst>
        </pc:spChg>
        <pc:picChg chg="add mod">
          <ac:chgData name="Gareth Allott" userId="d67bc1e7-5e6e-4540-bcf9-468a02f7a83e" providerId="ADAL" clId="{73C83929-70DB-46AC-846C-28C43116D9C0}" dt="2021-03-26T09:38:45.093" v="2701" actId="1076"/>
          <ac:picMkLst>
            <pc:docMk/>
            <pc:sldMk cId="1495903228" sldId="2146845391"/>
            <ac:picMk id="4" creationId="{15AC11EE-867A-49BD-9D59-4ED21EA9BCE0}"/>
          </ac:picMkLst>
        </pc:picChg>
        <pc:picChg chg="add mod">
          <ac:chgData name="Gareth Allott" userId="d67bc1e7-5e6e-4540-bcf9-468a02f7a83e" providerId="ADAL" clId="{73C83929-70DB-46AC-846C-28C43116D9C0}" dt="2021-03-26T12:39:06.538" v="5309" actId="1076"/>
          <ac:picMkLst>
            <pc:docMk/>
            <pc:sldMk cId="1495903228" sldId="2146845391"/>
            <ac:picMk id="8" creationId="{A54586A7-86FC-4067-B38B-5C21211915AF}"/>
          </ac:picMkLst>
        </pc:picChg>
      </pc:sldChg>
      <pc:sldChg chg="addSp delSp modSp new mod ord">
        <pc:chgData name="Gareth Allott" userId="d67bc1e7-5e6e-4540-bcf9-468a02f7a83e" providerId="ADAL" clId="{73C83929-70DB-46AC-846C-28C43116D9C0}" dt="2021-03-26T12:05:40.712" v="4948"/>
        <pc:sldMkLst>
          <pc:docMk/>
          <pc:sldMk cId="4096319990" sldId="2146845392"/>
        </pc:sldMkLst>
        <pc:spChg chg="del">
          <ac:chgData name="Gareth Allott" userId="d67bc1e7-5e6e-4540-bcf9-468a02f7a83e" providerId="ADAL" clId="{73C83929-70DB-46AC-846C-28C43116D9C0}" dt="2021-03-26T09:46:00.040" v="3422" actId="478"/>
          <ac:spMkLst>
            <pc:docMk/>
            <pc:sldMk cId="4096319990" sldId="2146845392"/>
            <ac:spMk id="2" creationId="{E7A9CEAA-FDD6-4E22-84F9-B819C8593200}"/>
          </ac:spMkLst>
        </pc:spChg>
        <pc:spChg chg="del">
          <ac:chgData name="Gareth Allott" userId="d67bc1e7-5e6e-4540-bcf9-468a02f7a83e" providerId="ADAL" clId="{73C83929-70DB-46AC-846C-28C43116D9C0}" dt="2021-03-26T09:45:56.743" v="3421" actId="478"/>
          <ac:spMkLst>
            <pc:docMk/>
            <pc:sldMk cId="4096319990" sldId="2146845392"/>
            <ac:spMk id="3" creationId="{2C17A0F5-4B25-4C3B-B6C6-01B809872268}"/>
          </ac:spMkLst>
        </pc:spChg>
        <pc:spChg chg="add mod">
          <ac:chgData name="Gareth Allott" userId="d67bc1e7-5e6e-4540-bcf9-468a02f7a83e" providerId="ADAL" clId="{73C83929-70DB-46AC-846C-28C43116D9C0}" dt="2021-03-26T09:46:41.810" v="3463" actId="1035"/>
          <ac:spMkLst>
            <pc:docMk/>
            <pc:sldMk cId="4096319990" sldId="2146845392"/>
            <ac:spMk id="4" creationId="{EC23B6CF-857A-4DC8-9C06-DCF57E10E0D8}"/>
          </ac:spMkLst>
        </pc:spChg>
        <pc:spChg chg="add mod">
          <ac:chgData name="Gareth Allott" userId="d67bc1e7-5e6e-4540-bcf9-468a02f7a83e" providerId="ADAL" clId="{73C83929-70DB-46AC-846C-28C43116D9C0}" dt="2021-03-26T09:46:41.810" v="3463" actId="1035"/>
          <ac:spMkLst>
            <pc:docMk/>
            <pc:sldMk cId="4096319990" sldId="2146845392"/>
            <ac:spMk id="5" creationId="{60679B81-4A76-4259-9107-FB2C65CD1968}"/>
          </ac:spMkLst>
        </pc:spChg>
        <pc:spChg chg="add mod">
          <ac:chgData name="Gareth Allott" userId="d67bc1e7-5e6e-4540-bcf9-468a02f7a83e" providerId="ADAL" clId="{73C83929-70DB-46AC-846C-28C43116D9C0}" dt="2021-03-26T09:46:41.810" v="3463" actId="1035"/>
          <ac:spMkLst>
            <pc:docMk/>
            <pc:sldMk cId="4096319990" sldId="2146845392"/>
            <ac:spMk id="6" creationId="{C4B57038-A9BC-41A7-AAC9-A5E1F8725F6A}"/>
          </ac:spMkLst>
        </pc:spChg>
        <pc:spChg chg="add mod">
          <ac:chgData name="Gareth Allott" userId="d67bc1e7-5e6e-4540-bcf9-468a02f7a83e" providerId="ADAL" clId="{73C83929-70DB-46AC-846C-28C43116D9C0}" dt="2021-03-26T09:46:41.810" v="3463" actId="1035"/>
          <ac:spMkLst>
            <pc:docMk/>
            <pc:sldMk cId="4096319990" sldId="2146845392"/>
            <ac:spMk id="7" creationId="{706C5DC2-B625-4AAD-BC09-33268515C99A}"/>
          </ac:spMkLst>
        </pc:spChg>
        <pc:spChg chg="add mod">
          <ac:chgData name="Gareth Allott" userId="d67bc1e7-5e6e-4540-bcf9-468a02f7a83e" providerId="ADAL" clId="{73C83929-70DB-46AC-846C-28C43116D9C0}" dt="2021-03-26T09:46:41.810" v="3463" actId="1035"/>
          <ac:spMkLst>
            <pc:docMk/>
            <pc:sldMk cId="4096319990" sldId="2146845392"/>
            <ac:spMk id="8" creationId="{4B2D5B62-52ED-4213-9B01-739EC5AA8D9E}"/>
          </ac:spMkLst>
        </pc:spChg>
        <pc:spChg chg="add mod">
          <ac:chgData name="Gareth Allott" userId="d67bc1e7-5e6e-4540-bcf9-468a02f7a83e" providerId="ADAL" clId="{73C83929-70DB-46AC-846C-28C43116D9C0}" dt="2021-03-26T09:46:41.810" v="3463" actId="1035"/>
          <ac:spMkLst>
            <pc:docMk/>
            <pc:sldMk cId="4096319990" sldId="2146845392"/>
            <ac:spMk id="9" creationId="{85A4B85F-E2D4-4627-B6D9-B5B9EFEE693E}"/>
          </ac:spMkLst>
        </pc:spChg>
        <pc:spChg chg="add mod">
          <ac:chgData name="Gareth Allott" userId="d67bc1e7-5e6e-4540-bcf9-468a02f7a83e" providerId="ADAL" clId="{73C83929-70DB-46AC-846C-28C43116D9C0}" dt="2021-03-26T09:46:41.810" v="3463" actId="1035"/>
          <ac:spMkLst>
            <pc:docMk/>
            <pc:sldMk cId="4096319990" sldId="2146845392"/>
            <ac:spMk id="10" creationId="{8F89659E-12AA-46D1-B920-738ECB533300}"/>
          </ac:spMkLst>
        </pc:spChg>
        <pc:spChg chg="add mod">
          <ac:chgData name="Gareth Allott" userId="d67bc1e7-5e6e-4540-bcf9-468a02f7a83e" providerId="ADAL" clId="{73C83929-70DB-46AC-846C-28C43116D9C0}" dt="2021-03-26T09:46:41.810" v="3463" actId="1035"/>
          <ac:spMkLst>
            <pc:docMk/>
            <pc:sldMk cId="4096319990" sldId="2146845392"/>
            <ac:spMk id="11" creationId="{01D2E8D8-0C4E-4F11-A849-08A86E69CA0E}"/>
          </ac:spMkLst>
        </pc:spChg>
        <pc:spChg chg="add mod">
          <ac:chgData name="Gareth Allott" userId="d67bc1e7-5e6e-4540-bcf9-468a02f7a83e" providerId="ADAL" clId="{73C83929-70DB-46AC-846C-28C43116D9C0}" dt="2021-03-26T09:46:41.810" v="3463" actId="1035"/>
          <ac:spMkLst>
            <pc:docMk/>
            <pc:sldMk cId="4096319990" sldId="2146845392"/>
            <ac:spMk id="12" creationId="{707A5890-4597-4712-8C78-F9459EC9C239}"/>
          </ac:spMkLst>
        </pc:spChg>
        <pc:spChg chg="add mod">
          <ac:chgData name="Gareth Allott" userId="d67bc1e7-5e6e-4540-bcf9-468a02f7a83e" providerId="ADAL" clId="{73C83929-70DB-46AC-846C-28C43116D9C0}" dt="2021-03-26T09:47:15.844" v="3465" actId="1582"/>
          <ac:spMkLst>
            <pc:docMk/>
            <pc:sldMk cId="4096319990" sldId="2146845392"/>
            <ac:spMk id="13" creationId="{70FED1DB-334B-4ACA-AB40-E42B67AAA3C5}"/>
          </ac:spMkLst>
        </pc:spChg>
        <pc:spChg chg="add mod">
          <ac:chgData name="Gareth Allott" userId="d67bc1e7-5e6e-4540-bcf9-468a02f7a83e" providerId="ADAL" clId="{73C83929-70DB-46AC-846C-28C43116D9C0}" dt="2021-03-26T09:46:41.810" v="3463" actId="1035"/>
          <ac:spMkLst>
            <pc:docMk/>
            <pc:sldMk cId="4096319990" sldId="2146845392"/>
            <ac:spMk id="14" creationId="{1DE9FA38-E4BB-4CF8-A4C9-90FD0914F4BF}"/>
          </ac:spMkLst>
        </pc:spChg>
        <pc:spChg chg="add mod">
          <ac:chgData name="Gareth Allott" userId="d67bc1e7-5e6e-4540-bcf9-468a02f7a83e" providerId="ADAL" clId="{73C83929-70DB-46AC-846C-28C43116D9C0}" dt="2021-03-26T09:46:41.810" v="3463" actId="1035"/>
          <ac:spMkLst>
            <pc:docMk/>
            <pc:sldMk cId="4096319990" sldId="2146845392"/>
            <ac:spMk id="15" creationId="{5A19E0A2-78B7-4975-8E25-C095E9B11C95}"/>
          </ac:spMkLst>
        </pc:spChg>
        <pc:spChg chg="add mod">
          <ac:chgData name="Gareth Allott" userId="d67bc1e7-5e6e-4540-bcf9-468a02f7a83e" providerId="ADAL" clId="{73C83929-70DB-46AC-846C-28C43116D9C0}" dt="2021-03-26T09:46:41.810" v="3463" actId="1035"/>
          <ac:spMkLst>
            <pc:docMk/>
            <pc:sldMk cId="4096319990" sldId="2146845392"/>
            <ac:spMk id="17" creationId="{BF0B6E59-D7E7-4083-A9D4-8DC827711889}"/>
          </ac:spMkLst>
        </pc:spChg>
        <pc:spChg chg="add mod">
          <ac:chgData name="Gareth Allott" userId="d67bc1e7-5e6e-4540-bcf9-468a02f7a83e" providerId="ADAL" clId="{73C83929-70DB-46AC-846C-28C43116D9C0}" dt="2021-03-26T09:46:41.810" v="3463" actId="1035"/>
          <ac:spMkLst>
            <pc:docMk/>
            <pc:sldMk cId="4096319990" sldId="2146845392"/>
            <ac:spMk id="18" creationId="{61F807A5-71C0-489F-BF50-290205EED7CA}"/>
          </ac:spMkLst>
        </pc:spChg>
        <pc:spChg chg="add mod">
          <ac:chgData name="Gareth Allott" userId="d67bc1e7-5e6e-4540-bcf9-468a02f7a83e" providerId="ADAL" clId="{73C83929-70DB-46AC-846C-28C43116D9C0}" dt="2021-03-26T09:47:15.844" v="3465" actId="1582"/>
          <ac:spMkLst>
            <pc:docMk/>
            <pc:sldMk cId="4096319990" sldId="2146845392"/>
            <ac:spMk id="19" creationId="{1AB421B9-88AE-4195-A676-C6C18320FBFC}"/>
          </ac:spMkLst>
        </pc:spChg>
        <pc:cxnChg chg="add mod">
          <ac:chgData name="Gareth Allott" userId="d67bc1e7-5e6e-4540-bcf9-468a02f7a83e" providerId="ADAL" clId="{73C83929-70DB-46AC-846C-28C43116D9C0}" dt="2021-03-26T09:46:41.810" v="3463" actId="1035"/>
          <ac:cxnSpMkLst>
            <pc:docMk/>
            <pc:sldMk cId="4096319990" sldId="2146845392"/>
            <ac:cxnSpMk id="16" creationId="{1013502A-6976-4E6C-95C9-AE0F0419EB73}"/>
          </ac:cxnSpMkLst>
        </pc:cxnChg>
      </pc:sldChg>
      <pc:sldChg chg="addSp delSp modSp add del mod">
        <pc:chgData name="Gareth Allott" userId="d67bc1e7-5e6e-4540-bcf9-468a02f7a83e" providerId="ADAL" clId="{73C83929-70DB-46AC-846C-28C43116D9C0}" dt="2021-03-26T09:53:59.565" v="3703"/>
        <pc:sldMkLst>
          <pc:docMk/>
          <pc:sldMk cId="882637544" sldId="2146845393"/>
        </pc:sldMkLst>
        <pc:spChg chg="add del">
          <ac:chgData name="Gareth Allott" userId="d67bc1e7-5e6e-4540-bcf9-468a02f7a83e" providerId="ADAL" clId="{73C83929-70DB-46AC-846C-28C43116D9C0}" dt="2021-03-26T09:53:59.451" v="3702" actId="21"/>
          <ac:spMkLst>
            <pc:docMk/>
            <pc:sldMk cId="882637544" sldId="2146845393"/>
            <ac:spMk id="21" creationId="{D5EC4ACA-AD91-4640-80C9-57C0E290A8D5}"/>
          </ac:spMkLst>
        </pc:spChg>
        <pc:spChg chg="add del">
          <ac:chgData name="Gareth Allott" userId="d67bc1e7-5e6e-4540-bcf9-468a02f7a83e" providerId="ADAL" clId="{73C83929-70DB-46AC-846C-28C43116D9C0}" dt="2021-03-26T09:53:59.451" v="3702" actId="21"/>
          <ac:spMkLst>
            <pc:docMk/>
            <pc:sldMk cId="882637544" sldId="2146845393"/>
            <ac:spMk id="22" creationId="{7DBA80EA-8636-46AF-AB4F-8144EB03A5CD}"/>
          </ac:spMkLst>
        </pc:spChg>
        <pc:spChg chg="add del">
          <ac:chgData name="Gareth Allott" userId="d67bc1e7-5e6e-4540-bcf9-468a02f7a83e" providerId="ADAL" clId="{73C83929-70DB-46AC-846C-28C43116D9C0}" dt="2021-03-26T09:53:59.451" v="3702" actId="21"/>
          <ac:spMkLst>
            <pc:docMk/>
            <pc:sldMk cId="882637544" sldId="2146845393"/>
            <ac:spMk id="23" creationId="{AD1183A4-12E6-48A9-954D-97F53B69475B}"/>
          </ac:spMkLst>
        </pc:spChg>
        <pc:spChg chg="add del">
          <ac:chgData name="Gareth Allott" userId="d67bc1e7-5e6e-4540-bcf9-468a02f7a83e" providerId="ADAL" clId="{73C83929-70DB-46AC-846C-28C43116D9C0}" dt="2021-03-26T09:53:59.451" v="3702" actId="21"/>
          <ac:spMkLst>
            <pc:docMk/>
            <pc:sldMk cId="882637544" sldId="2146845393"/>
            <ac:spMk id="30" creationId="{907DB02E-E3DB-4B20-9297-E0658F938352}"/>
          </ac:spMkLst>
        </pc:spChg>
        <pc:spChg chg="add del">
          <ac:chgData name="Gareth Allott" userId="d67bc1e7-5e6e-4540-bcf9-468a02f7a83e" providerId="ADAL" clId="{73C83929-70DB-46AC-846C-28C43116D9C0}" dt="2021-03-26T09:53:59.451" v="3702" actId="21"/>
          <ac:spMkLst>
            <pc:docMk/>
            <pc:sldMk cId="882637544" sldId="2146845393"/>
            <ac:spMk id="33" creationId="{2D5F6816-D8D1-405D-BC21-896FB6F24BD3}"/>
          </ac:spMkLst>
        </pc:spChg>
        <pc:spChg chg="add del">
          <ac:chgData name="Gareth Allott" userId="d67bc1e7-5e6e-4540-bcf9-468a02f7a83e" providerId="ADAL" clId="{73C83929-70DB-46AC-846C-28C43116D9C0}" dt="2021-03-26T09:53:59.451" v="3702" actId="21"/>
          <ac:spMkLst>
            <pc:docMk/>
            <pc:sldMk cId="882637544" sldId="2146845393"/>
            <ac:spMk id="35" creationId="{23AF11C3-2B49-4FB7-B1BC-5DB18F9A835B}"/>
          </ac:spMkLst>
        </pc:spChg>
        <pc:spChg chg="add del">
          <ac:chgData name="Gareth Allott" userId="d67bc1e7-5e6e-4540-bcf9-468a02f7a83e" providerId="ADAL" clId="{73C83929-70DB-46AC-846C-28C43116D9C0}" dt="2021-03-26T09:53:59.451" v="3702" actId="21"/>
          <ac:spMkLst>
            <pc:docMk/>
            <pc:sldMk cId="882637544" sldId="2146845393"/>
            <ac:spMk id="74" creationId="{CF50AA5F-96BC-485B-A81E-E0C5E36E80AF}"/>
          </ac:spMkLst>
        </pc:spChg>
        <pc:spChg chg="add del">
          <ac:chgData name="Gareth Allott" userId="d67bc1e7-5e6e-4540-bcf9-468a02f7a83e" providerId="ADAL" clId="{73C83929-70DB-46AC-846C-28C43116D9C0}" dt="2021-03-26T09:53:59.451" v="3702" actId="21"/>
          <ac:spMkLst>
            <pc:docMk/>
            <pc:sldMk cId="882637544" sldId="2146845393"/>
            <ac:spMk id="75" creationId="{31213884-41E1-426A-933F-51F6C448EF42}"/>
          </ac:spMkLst>
        </pc:spChg>
        <pc:spChg chg="add del">
          <ac:chgData name="Gareth Allott" userId="d67bc1e7-5e6e-4540-bcf9-468a02f7a83e" providerId="ADAL" clId="{73C83929-70DB-46AC-846C-28C43116D9C0}" dt="2021-03-26T09:53:59.451" v="3702" actId="21"/>
          <ac:spMkLst>
            <pc:docMk/>
            <pc:sldMk cId="882637544" sldId="2146845393"/>
            <ac:spMk id="76" creationId="{F35B057C-F3A3-4F22-AB2B-1CC9F004B2A3}"/>
          </ac:spMkLst>
        </pc:spChg>
        <pc:spChg chg="add del">
          <ac:chgData name="Gareth Allott" userId="d67bc1e7-5e6e-4540-bcf9-468a02f7a83e" providerId="ADAL" clId="{73C83929-70DB-46AC-846C-28C43116D9C0}" dt="2021-03-26T09:53:59.451" v="3702" actId="21"/>
          <ac:spMkLst>
            <pc:docMk/>
            <pc:sldMk cId="882637544" sldId="2146845393"/>
            <ac:spMk id="80" creationId="{02CBDA2C-822E-434D-BE85-2C3CCFCD8027}"/>
          </ac:spMkLst>
        </pc:spChg>
        <pc:spChg chg="add del">
          <ac:chgData name="Gareth Allott" userId="d67bc1e7-5e6e-4540-bcf9-468a02f7a83e" providerId="ADAL" clId="{73C83929-70DB-46AC-846C-28C43116D9C0}" dt="2021-03-26T09:53:59.451" v="3702" actId="21"/>
          <ac:spMkLst>
            <pc:docMk/>
            <pc:sldMk cId="882637544" sldId="2146845393"/>
            <ac:spMk id="82" creationId="{4221E554-3F47-4704-880D-3D914EE0AE73}"/>
          </ac:spMkLst>
        </pc:spChg>
        <pc:spChg chg="add del">
          <ac:chgData name="Gareth Allott" userId="d67bc1e7-5e6e-4540-bcf9-468a02f7a83e" providerId="ADAL" clId="{73C83929-70DB-46AC-846C-28C43116D9C0}" dt="2021-03-26T09:53:59.451" v="3702" actId="21"/>
          <ac:spMkLst>
            <pc:docMk/>
            <pc:sldMk cId="882637544" sldId="2146845393"/>
            <ac:spMk id="83" creationId="{ED2297F6-10CC-49C2-80A2-0B050A9BEA47}"/>
          </ac:spMkLst>
        </pc:spChg>
        <pc:picChg chg="add del">
          <ac:chgData name="Gareth Allott" userId="d67bc1e7-5e6e-4540-bcf9-468a02f7a83e" providerId="ADAL" clId="{73C83929-70DB-46AC-846C-28C43116D9C0}" dt="2021-03-26T09:53:59.451" v="3702" actId="21"/>
          <ac:picMkLst>
            <pc:docMk/>
            <pc:sldMk cId="882637544" sldId="2146845393"/>
            <ac:picMk id="27" creationId="{C352F4D3-1981-4926-98A3-438DA2E1ABF0}"/>
          </ac:picMkLst>
        </pc:picChg>
        <pc:picChg chg="add del">
          <ac:chgData name="Gareth Allott" userId="d67bc1e7-5e6e-4540-bcf9-468a02f7a83e" providerId="ADAL" clId="{73C83929-70DB-46AC-846C-28C43116D9C0}" dt="2021-03-26T09:53:59.451" v="3702" actId="21"/>
          <ac:picMkLst>
            <pc:docMk/>
            <pc:sldMk cId="882637544" sldId="2146845393"/>
            <ac:picMk id="32" creationId="{FB9F9049-B62F-4E58-A7C7-AD2DA34AB794}"/>
          </ac:picMkLst>
        </pc:picChg>
        <pc:picChg chg="add del">
          <ac:chgData name="Gareth Allott" userId="d67bc1e7-5e6e-4540-bcf9-468a02f7a83e" providerId="ADAL" clId="{73C83929-70DB-46AC-846C-28C43116D9C0}" dt="2021-03-26T09:53:59.451" v="3702" actId="21"/>
          <ac:picMkLst>
            <pc:docMk/>
            <pc:sldMk cId="882637544" sldId="2146845393"/>
            <ac:picMk id="37" creationId="{84512670-9D8F-410C-BC26-BA20C06CFDD9}"/>
          </ac:picMkLst>
        </pc:picChg>
        <pc:picChg chg="add del">
          <ac:chgData name="Gareth Allott" userId="d67bc1e7-5e6e-4540-bcf9-468a02f7a83e" providerId="ADAL" clId="{73C83929-70DB-46AC-846C-28C43116D9C0}" dt="2021-03-26T09:53:59.451" v="3702" actId="21"/>
          <ac:picMkLst>
            <pc:docMk/>
            <pc:sldMk cId="882637544" sldId="2146845393"/>
            <ac:picMk id="81" creationId="{91ADE453-E1D1-4502-AD92-8640C962CD4C}"/>
          </ac:picMkLst>
        </pc:picChg>
        <pc:picChg chg="add del">
          <ac:chgData name="Gareth Allott" userId="d67bc1e7-5e6e-4540-bcf9-468a02f7a83e" providerId="ADAL" clId="{73C83929-70DB-46AC-846C-28C43116D9C0}" dt="2021-03-26T09:53:59.451" v="3702" actId="21"/>
          <ac:picMkLst>
            <pc:docMk/>
            <pc:sldMk cId="882637544" sldId="2146845393"/>
            <ac:picMk id="84" creationId="{53F8B173-723F-45D7-A793-6713BF7ADB36}"/>
          </ac:picMkLst>
        </pc:picChg>
        <pc:picChg chg="add del">
          <ac:chgData name="Gareth Allott" userId="d67bc1e7-5e6e-4540-bcf9-468a02f7a83e" providerId="ADAL" clId="{73C83929-70DB-46AC-846C-28C43116D9C0}" dt="2021-03-26T09:53:59.451" v="3702" actId="21"/>
          <ac:picMkLst>
            <pc:docMk/>
            <pc:sldMk cId="882637544" sldId="2146845393"/>
            <ac:picMk id="85" creationId="{48F90E7F-3396-45F9-ABD9-AD5144A1123F}"/>
          </ac:picMkLst>
        </pc:picChg>
        <pc:cxnChg chg="add del">
          <ac:chgData name="Gareth Allott" userId="d67bc1e7-5e6e-4540-bcf9-468a02f7a83e" providerId="ADAL" clId="{73C83929-70DB-46AC-846C-28C43116D9C0}" dt="2021-03-26T09:53:59.451" v="3702" actId="21"/>
          <ac:cxnSpMkLst>
            <pc:docMk/>
            <pc:sldMk cId="882637544" sldId="2146845393"/>
            <ac:cxnSpMk id="29" creationId="{3249B83B-84BB-4A3E-81BF-EC28611A31DA}"/>
          </ac:cxnSpMkLst>
        </pc:cxnChg>
        <pc:cxnChg chg="add del">
          <ac:chgData name="Gareth Allott" userId="d67bc1e7-5e6e-4540-bcf9-468a02f7a83e" providerId="ADAL" clId="{73C83929-70DB-46AC-846C-28C43116D9C0}" dt="2021-03-26T09:53:59.451" v="3702" actId="21"/>
          <ac:cxnSpMkLst>
            <pc:docMk/>
            <pc:sldMk cId="882637544" sldId="2146845393"/>
            <ac:cxnSpMk id="79" creationId="{B19849EC-65FC-4E0D-AB76-A9C76CDFD381}"/>
          </ac:cxnSpMkLst>
        </pc:cxnChg>
        <pc:cxnChg chg="add del mod">
          <ac:chgData name="Gareth Allott" userId="d67bc1e7-5e6e-4540-bcf9-468a02f7a83e" providerId="ADAL" clId="{73C83929-70DB-46AC-846C-28C43116D9C0}" dt="2021-03-26T09:53:59.451" v="3702" actId="21"/>
          <ac:cxnSpMkLst>
            <pc:docMk/>
            <pc:sldMk cId="882637544" sldId="2146845393"/>
            <ac:cxnSpMk id="87" creationId="{EBA2F40A-FEC0-40FA-B19A-1236FA753E82}"/>
          </ac:cxnSpMkLst>
        </pc:cxnChg>
      </pc:sldChg>
      <pc:sldChg chg="addSp delSp modSp mod">
        <pc:chgData name="Gareth Allott" userId="d67bc1e7-5e6e-4540-bcf9-468a02f7a83e" providerId="ADAL" clId="{73C83929-70DB-46AC-846C-28C43116D9C0}" dt="2021-03-26T13:34:16.328" v="6008" actId="20577"/>
        <pc:sldMkLst>
          <pc:docMk/>
          <pc:sldMk cId="1440118155" sldId="2146845393"/>
        </pc:sldMkLst>
        <pc:spChg chg="add mod">
          <ac:chgData name="Gareth Allott" userId="d67bc1e7-5e6e-4540-bcf9-468a02f7a83e" providerId="ADAL" clId="{73C83929-70DB-46AC-846C-28C43116D9C0}" dt="2021-03-26T10:42:52.254" v="3941" actId="1037"/>
          <ac:spMkLst>
            <pc:docMk/>
            <pc:sldMk cId="1440118155" sldId="2146845393"/>
            <ac:spMk id="2" creationId="{B846000C-2A2D-4A8B-A061-DBEC204AC798}"/>
          </ac:spMkLst>
        </pc:spChg>
        <pc:spChg chg="add mod">
          <ac:chgData name="Gareth Allott" userId="d67bc1e7-5e6e-4540-bcf9-468a02f7a83e" providerId="ADAL" clId="{73C83929-70DB-46AC-846C-28C43116D9C0}" dt="2021-03-26T13:34:06.638" v="6005" actId="20577"/>
          <ac:spMkLst>
            <pc:docMk/>
            <pc:sldMk cId="1440118155" sldId="2146845393"/>
            <ac:spMk id="3" creationId="{FDD78FD5-59CD-4D34-B4FE-7ED14930073A}"/>
          </ac:spMkLst>
        </pc:spChg>
        <pc:spChg chg="mod">
          <ac:chgData name="Gareth Allott" userId="d67bc1e7-5e6e-4540-bcf9-468a02f7a83e" providerId="ADAL" clId="{73C83929-70DB-46AC-846C-28C43116D9C0}" dt="2021-03-26T11:32:39.354" v="4494" actId="20577"/>
          <ac:spMkLst>
            <pc:docMk/>
            <pc:sldMk cId="1440118155" sldId="2146845393"/>
            <ac:spMk id="5" creationId="{DE226D76-DFDC-493D-BC2A-95A0A748F140}"/>
          </ac:spMkLst>
        </pc:spChg>
        <pc:spChg chg="mod">
          <ac:chgData name="Gareth Allott" userId="d67bc1e7-5e6e-4540-bcf9-468a02f7a83e" providerId="ADAL" clId="{73C83929-70DB-46AC-846C-28C43116D9C0}" dt="2021-03-26T11:32:34.201" v="4493" actId="20577"/>
          <ac:spMkLst>
            <pc:docMk/>
            <pc:sldMk cId="1440118155" sldId="2146845393"/>
            <ac:spMk id="6" creationId="{ECE7C206-623B-4EC4-A2AB-386E2D02627B}"/>
          </ac:spMkLst>
        </pc:spChg>
        <pc:spChg chg="del">
          <ac:chgData name="Gareth Allott" userId="d67bc1e7-5e6e-4540-bcf9-468a02f7a83e" providerId="ADAL" clId="{73C83929-70DB-46AC-846C-28C43116D9C0}" dt="2021-03-26T09:54:07.573" v="3706" actId="478"/>
          <ac:spMkLst>
            <pc:docMk/>
            <pc:sldMk cId="1440118155" sldId="2146845393"/>
            <ac:spMk id="21" creationId="{D5EC4ACA-AD91-4640-80C9-57C0E290A8D5}"/>
          </ac:spMkLst>
        </pc:spChg>
        <pc:spChg chg="del">
          <ac:chgData name="Gareth Allott" userId="d67bc1e7-5e6e-4540-bcf9-468a02f7a83e" providerId="ADAL" clId="{73C83929-70DB-46AC-846C-28C43116D9C0}" dt="2021-03-26T09:54:07.573" v="3706" actId="478"/>
          <ac:spMkLst>
            <pc:docMk/>
            <pc:sldMk cId="1440118155" sldId="2146845393"/>
            <ac:spMk id="22" creationId="{7DBA80EA-8636-46AF-AB4F-8144EB03A5CD}"/>
          </ac:spMkLst>
        </pc:spChg>
        <pc:spChg chg="del">
          <ac:chgData name="Gareth Allott" userId="d67bc1e7-5e6e-4540-bcf9-468a02f7a83e" providerId="ADAL" clId="{73C83929-70DB-46AC-846C-28C43116D9C0}" dt="2021-03-26T09:54:07.573" v="3706" actId="478"/>
          <ac:spMkLst>
            <pc:docMk/>
            <pc:sldMk cId="1440118155" sldId="2146845393"/>
            <ac:spMk id="23" creationId="{AD1183A4-12E6-48A9-954D-97F53B69475B}"/>
          </ac:spMkLst>
        </pc:spChg>
        <pc:spChg chg="del">
          <ac:chgData name="Gareth Allott" userId="d67bc1e7-5e6e-4540-bcf9-468a02f7a83e" providerId="ADAL" clId="{73C83929-70DB-46AC-846C-28C43116D9C0}" dt="2021-03-26T09:54:07.573" v="3706" actId="478"/>
          <ac:spMkLst>
            <pc:docMk/>
            <pc:sldMk cId="1440118155" sldId="2146845393"/>
            <ac:spMk id="30" creationId="{907DB02E-E3DB-4B20-9297-E0658F938352}"/>
          </ac:spMkLst>
        </pc:spChg>
        <pc:spChg chg="del">
          <ac:chgData name="Gareth Allott" userId="d67bc1e7-5e6e-4540-bcf9-468a02f7a83e" providerId="ADAL" clId="{73C83929-70DB-46AC-846C-28C43116D9C0}" dt="2021-03-26T09:54:07.573" v="3706" actId="478"/>
          <ac:spMkLst>
            <pc:docMk/>
            <pc:sldMk cId="1440118155" sldId="2146845393"/>
            <ac:spMk id="33" creationId="{2D5F6816-D8D1-405D-BC21-896FB6F24BD3}"/>
          </ac:spMkLst>
        </pc:spChg>
        <pc:spChg chg="add del mod">
          <ac:chgData name="Gareth Allott" userId="d67bc1e7-5e6e-4540-bcf9-468a02f7a83e" providerId="ADAL" clId="{73C83929-70DB-46AC-846C-28C43116D9C0}" dt="2021-03-26T10:42:36.193" v="3923"/>
          <ac:spMkLst>
            <pc:docMk/>
            <pc:sldMk cId="1440118155" sldId="2146845393"/>
            <ac:spMk id="34" creationId="{7F114221-8C93-49DF-BF8E-38DC18B0712E}"/>
          </ac:spMkLst>
        </pc:spChg>
        <pc:spChg chg="del">
          <ac:chgData name="Gareth Allott" userId="d67bc1e7-5e6e-4540-bcf9-468a02f7a83e" providerId="ADAL" clId="{73C83929-70DB-46AC-846C-28C43116D9C0}" dt="2021-03-26T09:54:07.573" v="3706" actId="478"/>
          <ac:spMkLst>
            <pc:docMk/>
            <pc:sldMk cId="1440118155" sldId="2146845393"/>
            <ac:spMk id="35" creationId="{23AF11C3-2B49-4FB7-B1BC-5DB18F9A835B}"/>
          </ac:spMkLst>
        </pc:spChg>
        <pc:spChg chg="add del mod">
          <ac:chgData name="Gareth Allott" userId="d67bc1e7-5e6e-4540-bcf9-468a02f7a83e" providerId="ADAL" clId="{73C83929-70DB-46AC-846C-28C43116D9C0}" dt="2021-03-26T10:42:36.193" v="3923"/>
          <ac:spMkLst>
            <pc:docMk/>
            <pc:sldMk cId="1440118155" sldId="2146845393"/>
            <ac:spMk id="36" creationId="{5D0167D6-1E9B-4214-9249-03EFFF302C9A}"/>
          </ac:spMkLst>
        </pc:spChg>
        <pc:spChg chg="add del mod">
          <ac:chgData name="Gareth Allott" userId="d67bc1e7-5e6e-4540-bcf9-468a02f7a83e" providerId="ADAL" clId="{73C83929-70DB-46AC-846C-28C43116D9C0}" dt="2021-03-26T10:42:36.193" v="3923"/>
          <ac:spMkLst>
            <pc:docMk/>
            <pc:sldMk cId="1440118155" sldId="2146845393"/>
            <ac:spMk id="38" creationId="{CFB42B75-302B-4BD6-ACD4-0B0FC19E76F7}"/>
          </ac:spMkLst>
        </pc:spChg>
        <pc:spChg chg="add del mod">
          <ac:chgData name="Gareth Allott" userId="d67bc1e7-5e6e-4540-bcf9-468a02f7a83e" providerId="ADAL" clId="{73C83929-70DB-46AC-846C-28C43116D9C0}" dt="2021-03-26T10:42:36.193" v="3923"/>
          <ac:spMkLst>
            <pc:docMk/>
            <pc:sldMk cId="1440118155" sldId="2146845393"/>
            <ac:spMk id="39" creationId="{56DFC452-2BEE-4010-ADA0-BC109A0C41B3}"/>
          </ac:spMkLst>
        </pc:spChg>
        <pc:spChg chg="add mod">
          <ac:chgData name="Gareth Allott" userId="d67bc1e7-5e6e-4540-bcf9-468a02f7a83e" providerId="ADAL" clId="{73C83929-70DB-46AC-846C-28C43116D9C0}" dt="2021-03-26T10:42:57.688" v="3942" actId="571"/>
          <ac:spMkLst>
            <pc:docMk/>
            <pc:sldMk cId="1440118155" sldId="2146845393"/>
            <ac:spMk id="40" creationId="{298C680F-1853-4486-B071-7890E0DCD7CD}"/>
          </ac:spMkLst>
        </pc:spChg>
        <pc:spChg chg="add mod">
          <ac:chgData name="Gareth Allott" userId="d67bc1e7-5e6e-4540-bcf9-468a02f7a83e" providerId="ADAL" clId="{73C83929-70DB-46AC-846C-28C43116D9C0}" dt="2021-03-26T10:43:00.289" v="3943" actId="571"/>
          <ac:spMkLst>
            <pc:docMk/>
            <pc:sldMk cId="1440118155" sldId="2146845393"/>
            <ac:spMk id="41" creationId="{7F31D432-20E7-486B-A743-77C8D87EAA4E}"/>
          </ac:spMkLst>
        </pc:spChg>
        <pc:spChg chg="add mod">
          <ac:chgData name="Gareth Allott" userId="d67bc1e7-5e6e-4540-bcf9-468a02f7a83e" providerId="ADAL" clId="{73C83929-70DB-46AC-846C-28C43116D9C0}" dt="2021-03-26T10:43:06.339" v="3946" actId="1035"/>
          <ac:spMkLst>
            <pc:docMk/>
            <pc:sldMk cId="1440118155" sldId="2146845393"/>
            <ac:spMk id="42" creationId="{FE10F89A-0D01-4BDF-AD1B-BF401069E3F3}"/>
          </ac:spMkLst>
        </pc:spChg>
        <pc:spChg chg="add mod">
          <ac:chgData name="Gareth Allott" userId="d67bc1e7-5e6e-4540-bcf9-468a02f7a83e" providerId="ADAL" clId="{73C83929-70DB-46AC-846C-28C43116D9C0}" dt="2021-03-26T13:34:16.328" v="6008" actId="20577"/>
          <ac:spMkLst>
            <pc:docMk/>
            <pc:sldMk cId="1440118155" sldId="2146845393"/>
            <ac:spMk id="43" creationId="{77B82019-A486-4C79-AF49-7AA9AF825D3A}"/>
          </ac:spMkLst>
        </pc:spChg>
        <pc:spChg chg="del">
          <ac:chgData name="Gareth Allott" userId="d67bc1e7-5e6e-4540-bcf9-468a02f7a83e" providerId="ADAL" clId="{73C83929-70DB-46AC-846C-28C43116D9C0}" dt="2021-03-26T09:54:07.573" v="3706" actId="478"/>
          <ac:spMkLst>
            <pc:docMk/>
            <pc:sldMk cId="1440118155" sldId="2146845393"/>
            <ac:spMk id="74" creationId="{CF50AA5F-96BC-485B-A81E-E0C5E36E80AF}"/>
          </ac:spMkLst>
        </pc:spChg>
        <pc:spChg chg="del">
          <ac:chgData name="Gareth Allott" userId="d67bc1e7-5e6e-4540-bcf9-468a02f7a83e" providerId="ADAL" clId="{73C83929-70DB-46AC-846C-28C43116D9C0}" dt="2021-03-26T09:54:07.573" v="3706" actId="478"/>
          <ac:spMkLst>
            <pc:docMk/>
            <pc:sldMk cId="1440118155" sldId="2146845393"/>
            <ac:spMk id="75" creationId="{31213884-41E1-426A-933F-51F6C448EF42}"/>
          </ac:spMkLst>
        </pc:spChg>
        <pc:spChg chg="del">
          <ac:chgData name="Gareth Allott" userId="d67bc1e7-5e6e-4540-bcf9-468a02f7a83e" providerId="ADAL" clId="{73C83929-70DB-46AC-846C-28C43116D9C0}" dt="2021-03-26T09:54:07.573" v="3706" actId="478"/>
          <ac:spMkLst>
            <pc:docMk/>
            <pc:sldMk cId="1440118155" sldId="2146845393"/>
            <ac:spMk id="76" creationId="{F35B057C-F3A3-4F22-AB2B-1CC9F004B2A3}"/>
          </ac:spMkLst>
        </pc:spChg>
        <pc:spChg chg="del">
          <ac:chgData name="Gareth Allott" userId="d67bc1e7-5e6e-4540-bcf9-468a02f7a83e" providerId="ADAL" clId="{73C83929-70DB-46AC-846C-28C43116D9C0}" dt="2021-03-26T09:54:07.573" v="3706" actId="478"/>
          <ac:spMkLst>
            <pc:docMk/>
            <pc:sldMk cId="1440118155" sldId="2146845393"/>
            <ac:spMk id="80" creationId="{02CBDA2C-822E-434D-BE85-2C3CCFCD8027}"/>
          </ac:spMkLst>
        </pc:spChg>
        <pc:spChg chg="del">
          <ac:chgData name="Gareth Allott" userId="d67bc1e7-5e6e-4540-bcf9-468a02f7a83e" providerId="ADAL" clId="{73C83929-70DB-46AC-846C-28C43116D9C0}" dt="2021-03-26T09:54:07.573" v="3706" actId="478"/>
          <ac:spMkLst>
            <pc:docMk/>
            <pc:sldMk cId="1440118155" sldId="2146845393"/>
            <ac:spMk id="82" creationId="{4221E554-3F47-4704-880D-3D914EE0AE73}"/>
          </ac:spMkLst>
        </pc:spChg>
        <pc:spChg chg="del">
          <ac:chgData name="Gareth Allott" userId="d67bc1e7-5e6e-4540-bcf9-468a02f7a83e" providerId="ADAL" clId="{73C83929-70DB-46AC-846C-28C43116D9C0}" dt="2021-03-26T09:54:07.573" v="3706" actId="478"/>
          <ac:spMkLst>
            <pc:docMk/>
            <pc:sldMk cId="1440118155" sldId="2146845393"/>
            <ac:spMk id="83" creationId="{ED2297F6-10CC-49C2-80A2-0B050A9BEA47}"/>
          </ac:spMkLst>
        </pc:spChg>
        <pc:picChg chg="del">
          <ac:chgData name="Gareth Allott" userId="d67bc1e7-5e6e-4540-bcf9-468a02f7a83e" providerId="ADAL" clId="{73C83929-70DB-46AC-846C-28C43116D9C0}" dt="2021-03-26T09:54:07.573" v="3706" actId="478"/>
          <ac:picMkLst>
            <pc:docMk/>
            <pc:sldMk cId="1440118155" sldId="2146845393"/>
            <ac:picMk id="27" creationId="{C352F4D3-1981-4926-98A3-438DA2E1ABF0}"/>
          </ac:picMkLst>
        </pc:picChg>
        <pc:picChg chg="del">
          <ac:chgData name="Gareth Allott" userId="d67bc1e7-5e6e-4540-bcf9-468a02f7a83e" providerId="ADAL" clId="{73C83929-70DB-46AC-846C-28C43116D9C0}" dt="2021-03-26T09:54:07.573" v="3706" actId="478"/>
          <ac:picMkLst>
            <pc:docMk/>
            <pc:sldMk cId="1440118155" sldId="2146845393"/>
            <ac:picMk id="32" creationId="{FB9F9049-B62F-4E58-A7C7-AD2DA34AB794}"/>
          </ac:picMkLst>
        </pc:picChg>
        <pc:picChg chg="del">
          <ac:chgData name="Gareth Allott" userId="d67bc1e7-5e6e-4540-bcf9-468a02f7a83e" providerId="ADAL" clId="{73C83929-70DB-46AC-846C-28C43116D9C0}" dt="2021-03-26T09:54:07.573" v="3706" actId="478"/>
          <ac:picMkLst>
            <pc:docMk/>
            <pc:sldMk cId="1440118155" sldId="2146845393"/>
            <ac:picMk id="37" creationId="{84512670-9D8F-410C-BC26-BA20C06CFDD9}"/>
          </ac:picMkLst>
        </pc:picChg>
        <pc:picChg chg="del">
          <ac:chgData name="Gareth Allott" userId="d67bc1e7-5e6e-4540-bcf9-468a02f7a83e" providerId="ADAL" clId="{73C83929-70DB-46AC-846C-28C43116D9C0}" dt="2021-03-26T09:54:07.573" v="3706" actId="478"/>
          <ac:picMkLst>
            <pc:docMk/>
            <pc:sldMk cId="1440118155" sldId="2146845393"/>
            <ac:picMk id="81" creationId="{91ADE453-E1D1-4502-AD92-8640C962CD4C}"/>
          </ac:picMkLst>
        </pc:picChg>
        <pc:picChg chg="del">
          <ac:chgData name="Gareth Allott" userId="d67bc1e7-5e6e-4540-bcf9-468a02f7a83e" providerId="ADAL" clId="{73C83929-70DB-46AC-846C-28C43116D9C0}" dt="2021-03-26T09:54:07.573" v="3706" actId="478"/>
          <ac:picMkLst>
            <pc:docMk/>
            <pc:sldMk cId="1440118155" sldId="2146845393"/>
            <ac:picMk id="84" creationId="{53F8B173-723F-45D7-A793-6713BF7ADB36}"/>
          </ac:picMkLst>
        </pc:picChg>
        <pc:picChg chg="del">
          <ac:chgData name="Gareth Allott" userId="d67bc1e7-5e6e-4540-bcf9-468a02f7a83e" providerId="ADAL" clId="{73C83929-70DB-46AC-846C-28C43116D9C0}" dt="2021-03-26T09:54:07.573" v="3706" actId="478"/>
          <ac:picMkLst>
            <pc:docMk/>
            <pc:sldMk cId="1440118155" sldId="2146845393"/>
            <ac:picMk id="85" creationId="{48F90E7F-3396-45F9-ABD9-AD5144A1123F}"/>
          </ac:picMkLst>
        </pc:picChg>
        <pc:cxnChg chg="del">
          <ac:chgData name="Gareth Allott" userId="d67bc1e7-5e6e-4540-bcf9-468a02f7a83e" providerId="ADAL" clId="{73C83929-70DB-46AC-846C-28C43116D9C0}" dt="2021-03-26T09:54:07.573" v="3706" actId="478"/>
          <ac:cxnSpMkLst>
            <pc:docMk/>
            <pc:sldMk cId="1440118155" sldId="2146845393"/>
            <ac:cxnSpMk id="29" creationId="{3249B83B-84BB-4A3E-81BF-EC28611A31DA}"/>
          </ac:cxnSpMkLst>
        </pc:cxnChg>
        <pc:cxnChg chg="del">
          <ac:chgData name="Gareth Allott" userId="d67bc1e7-5e6e-4540-bcf9-468a02f7a83e" providerId="ADAL" clId="{73C83929-70DB-46AC-846C-28C43116D9C0}" dt="2021-03-26T09:54:07.573" v="3706" actId="478"/>
          <ac:cxnSpMkLst>
            <pc:docMk/>
            <pc:sldMk cId="1440118155" sldId="2146845393"/>
            <ac:cxnSpMk id="79" creationId="{B19849EC-65FC-4E0D-AB76-A9C76CDFD381}"/>
          </ac:cxnSpMkLst>
        </pc:cxnChg>
        <pc:cxnChg chg="del mod">
          <ac:chgData name="Gareth Allott" userId="d67bc1e7-5e6e-4540-bcf9-468a02f7a83e" providerId="ADAL" clId="{73C83929-70DB-46AC-846C-28C43116D9C0}" dt="2021-03-26T09:54:07.573" v="3706" actId="478"/>
          <ac:cxnSpMkLst>
            <pc:docMk/>
            <pc:sldMk cId="1440118155" sldId="2146845393"/>
            <ac:cxnSpMk id="87" creationId="{EBA2F40A-FEC0-40FA-B19A-1236FA753E82}"/>
          </ac:cxnSpMkLst>
        </pc:cxnChg>
      </pc:sldChg>
      <pc:sldChg chg="addSp delSp modSp add mod ord modClrScheme chgLayout">
        <pc:chgData name="Gareth Allott" userId="d67bc1e7-5e6e-4540-bcf9-468a02f7a83e" providerId="ADAL" clId="{73C83929-70DB-46AC-846C-28C43116D9C0}" dt="2021-03-26T11:33:07.386" v="4519" actId="20577"/>
        <pc:sldMkLst>
          <pc:docMk/>
          <pc:sldMk cId="1453180239" sldId="2146845394"/>
        </pc:sldMkLst>
        <pc:spChg chg="mod">
          <ac:chgData name="Gareth Allott" userId="d67bc1e7-5e6e-4540-bcf9-468a02f7a83e" providerId="ADAL" clId="{73C83929-70DB-46AC-846C-28C43116D9C0}" dt="2021-03-26T11:33:04.242" v="4515" actId="20577"/>
          <ac:spMkLst>
            <pc:docMk/>
            <pc:sldMk cId="1453180239" sldId="2146845394"/>
            <ac:spMk id="5" creationId="{DE226D76-DFDC-493D-BC2A-95A0A748F140}"/>
          </ac:spMkLst>
        </pc:spChg>
        <pc:spChg chg="mod">
          <ac:chgData name="Gareth Allott" userId="d67bc1e7-5e6e-4540-bcf9-468a02f7a83e" providerId="ADAL" clId="{73C83929-70DB-46AC-846C-28C43116D9C0}" dt="2021-03-26T11:33:07.386" v="4519" actId="20577"/>
          <ac:spMkLst>
            <pc:docMk/>
            <pc:sldMk cId="1453180239" sldId="2146845394"/>
            <ac:spMk id="6" creationId="{ECE7C206-623B-4EC4-A2AB-386E2D02627B}"/>
          </ac:spMkLst>
        </pc:spChg>
        <pc:spChg chg="mod">
          <ac:chgData name="Gareth Allott" userId="d67bc1e7-5e6e-4540-bcf9-468a02f7a83e" providerId="ADAL" clId="{73C83929-70DB-46AC-846C-28C43116D9C0}" dt="2021-03-26T09:54:54.296" v="3747" actId="1036"/>
          <ac:spMkLst>
            <pc:docMk/>
            <pc:sldMk cId="1453180239" sldId="2146845394"/>
            <ac:spMk id="10" creationId="{C0D9D066-2FC7-4081-9876-23A13E2FFEC1}"/>
          </ac:spMkLst>
        </pc:spChg>
        <pc:spChg chg="del mod">
          <ac:chgData name="Gareth Allott" userId="d67bc1e7-5e6e-4540-bcf9-468a02f7a83e" providerId="ADAL" clId="{73C83929-70DB-46AC-846C-28C43116D9C0}" dt="2021-03-26T09:54:48.027" v="3713" actId="478"/>
          <ac:spMkLst>
            <pc:docMk/>
            <pc:sldMk cId="1453180239" sldId="2146845394"/>
            <ac:spMk id="16" creationId="{8697FD9D-49DE-47A0-9A2D-09BEB025AACA}"/>
          </ac:spMkLst>
        </pc:spChg>
        <pc:spChg chg="del">
          <ac:chgData name="Gareth Allott" userId="d67bc1e7-5e6e-4540-bcf9-468a02f7a83e" providerId="ADAL" clId="{73C83929-70DB-46AC-846C-28C43116D9C0}" dt="2021-03-26T09:54:48.027" v="3713" actId="478"/>
          <ac:spMkLst>
            <pc:docMk/>
            <pc:sldMk cId="1453180239" sldId="2146845394"/>
            <ac:spMk id="17" creationId="{9F07A1A9-AEB7-4965-861A-C08513ADA4D1}"/>
          </ac:spMkLst>
        </pc:spChg>
        <pc:spChg chg="mod">
          <ac:chgData name="Gareth Allott" userId="d67bc1e7-5e6e-4540-bcf9-468a02f7a83e" providerId="ADAL" clId="{73C83929-70DB-46AC-846C-28C43116D9C0}" dt="2021-03-26T09:54:54.296" v="3747" actId="1036"/>
          <ac:spMkLst>
            <pc:docMk/>
            <pc:sldMk cId="1453180239" sldId="2146845394"/>
            <ac:spMk id="20" creationId="{681A9C92-0FC8-46B0-8542-7A7ADC301AB7}"/>
          </ac:spMkLst>
        </pc:spChg>
        <pc:spChg chg="del">
          <ac:chgData name="Gareth Allott" userId="d67bc1e7-5e6e-4540-bcf9-468a02f7a83e" providerId="ADAL" clId="{73C83929-70DB-46AC-846C-28C43116D9C0}" dt="2021-03-26T09:54:25.606" v="3708" actId="478"/>
          <ac:spMkLst>
            <pc:docMk/>
            <pc:sldMk cId="1453180239" sldId="2146845394"/>
            <ac:spMk id="21" creationId="{D5EC4ACA-AD91-4640-80C9-57C0E290A8D5}"/>
          </ac:spMkLst>
        </pc:spChg>
        <pc:spChg chg="del">
          <ac:chgData name="Gareth Allott" userId="d67bc1e7-5e6e-4540-bcf9-468a02f7a83e" providerId="ADAL" clId="{73C83929-70DB-46AC-846C-28C43116D9C0}" dt="2021-03-26T09:54:25.606" v="3708" actId="478"/>
          <ac:spMkLst>
            <pc:docMk/>
            <pc:sldMk cId="1453180239" sldId="2146845394"/>
            <ac:spMk id="22" creationId="{7DBA80EA-8636-46AF-AB4F-8144EB03A5CD}"/>
          </ac:spMkLst>
        </pc:spChg>
        <pc:spChg chg="del">
          <ac:chgData name="Gareth Allott" userId="d67bc1e7-5e6e-4540-bcf9-468a02f7a83e" providerId="ADAL" clId="{73C83929-70DB-46AC-846C-28C43116D9C0}" dt="2021-03-26T09:54:25.606" v="3708" actId="478"/>
          <ac:spMkLst>
            <pc:docMk/>
            <pc:sldMk cId="1453180239" sldId="2146845394"/>
            <ac:spMk id="23" creationId="{AD1183A4-12E6-48A9-954D-97F53B69475B}"/>
          </ac:spMkLst>
        </pc:spChg>
        <pc:spChg chg="del">
          <ac:chgData name="Gareth Allott" userId="d67bc1e7-5e6e-4540-bcf9-468a02f7a83e" providerId="ADAL" clId="{73C83929-70DB-46AC-846C-28C43116D9C0}" dt="2021-03-26T09:54:25.606" v="3708" actId="478"/>
          <ac:spMkLst>
            <pc:docMk/>
            <pc:sldMk cId="1453180239" sldId="2146845394"/>
            <ac:spMk id="30" creationId="{907DB02E-E3DB-4B20-9297-E0658F938352}"/>
          </ac:spMkLst>
        </pc:spChg>
        <pc:spChg chg="del">
          <ac:chgData name="Gareth Allott" userId="d67bc1e7-5e6e-4540-bcf9-468a02f7a83e" providerId="ADAL" clId="{73C83929-70DB-46AC-846C-28C43116D9C0}" dt="2021-03-26T09:54:25.606" v="3708" actId="478"/>
          <ac:spMkLst>
            <pc:docMk/>
            <pc:sldMk cId="1453180239" sldId="2146845394"/>
            <ac:spMk id="33" creationId="{2D5F6816-D8D1-405D-BC21-896FB6F24BD3}"/>
          </ac:spMkLst>
        </pc:spChg>
        <pc:spChg chg="add mod">
          <ac:chgData name="Gareth Allott" userId="d67bc1e7-5e6e-4540-bcf9-468a02f7a83e" providerId="ADAL" clId="{73C83929-70DB-46AC-846C-28C43116D9C0}" dt="2021-03-26T09:55:06.644" v="3750" actId="207"/>
          <ac:spMkLst>
            <pc:docMk/>
            <pc:sldMk cId="1453180239" sldId="2146845394"/>
            <ac:spMk id="34" creationId="{BAA8A891-461D-43B4-B568-9B7D922F506B}"/>
          </ac:spMkLst>
        </pc:spChg>
        <pc:spChg chg="del">
          <ac:chgData name="Gareth Allott" userId="d67bc1e7-5e6e-4540-bcf9-468a02f7a83e" providerId="ADAL" clId="{73C83929-70DB-46AC-846C-28C43116D9C0}" dt="2021-03-26T09:54:25.606" v="3708" actId="478"/>
          <ac:spMkLst>
            <pc:docMk/>
            <pc:sldMk cId="1453180239" sldId="2146845394"/>
            <ac:spMk id="35" creationId="{23AF11C3-2B49-4FB7-B1BC-5DB18F9A835B}"/>
          </ac:spMkLst>
        </pc:spChg>
        <pc:spChg chg="add mod">
          <ac:chgData name="Gareth Allott" userId="d67bc1e7-5e6e-4540-bcf9-468a02f7a83e" providerId="ADAL" clId="{73C83929-70DB-46AC-846C-28C43116D9C0}" dt="2021-03-26T09:56:32.805" v="3778" actId="1038"/>
          <ac:spMkLst>
            <pc:docMk/>
            <pc:sldMk cId="1453180239" sldId="2146845394"/>
            <ac:spMk id="38" creationId="{55825B4E-5EA0-420B-AE04-26237FE30041}"/>
          </ac:spMkLst>
        </pc:spChg>
        <pc:spChg chg="add mod">
          <ac:chgData name="Gareth Allott" userId="d67bc1e7-5e6e-4540-bcf9-468a02f7a83e" providerId="ADAL" clId="{73C83929-70DB-46AC-846C-28C43116D9C0}" dt="2021-03-26T09:56:32.805" v="3778" actId="1038"/>
          <ac:spMkLst>
            <pc:docMk/>
            <pc:sldMk cId="1453180239" sldId="2146845394"/>
            <ac:spMk id="39" creationId="{90A113C4-9442-47B4-ADBF-2B859F9CB4B0}"/>
          </ac:spMkLst>
        </pc:spChg>
        <pc:spChg chg="add mod">
          <ac:chgData name="Gareth Allott" userId="d67bc1e7-5e6e-4540-bcf9-468a02f7a83e" providerId="ADAL" clId="{73C83929-70DB-46AC-846C-28C43116D9C0}" dt="2021-03-26T09:56:32.805" v="3778" actId="1038"/>
          <ac:spMkLst>
            <pc:docMk/>
            <pc:sldMk cId="1453180239" sldId="2146845394"/>
            <ac:spMk id="40" creationId="{F6AC725A-A18B-474E-B9A2-CD8EF6BEB748}"/>
          </ac:spMkLst>
        </pc:spChg>
        <pc:spChg chg="add mod">
          <ac:chgData name="Gareth Allott" userId="d67bc1e7-5e6e-4540-bcf9-468a02f7a83e" providerId="ADAL" clId="{73C83929-70DB-46AC-846C-28C43116D9C0}" dt="2021-03-26T09:56:32.805" v="3778" actId="1038"/>
          <ac:spMkLst>
            <pc:docMk/>
            <pc:sldMk cId="1453180239" sldId="2146845394"/>
            <ac:spMk id="43" creationId="{192F268A-AF07-4385-9B0A-810C8942F0B3}"/>
          </ac:spMkLst>
        </pc:spChg>
        <pc:spChg chg="add mod">
          <ac:chgData name="Gareth Allott" userId="d67bc1e7-5e6e-4540-bcf9-468a02f7a83e" providerId="ADAL" clId="{73C83929-70DB-46AC-846C-28C43116D9C0}" dt="2021-03-26T09:56:32.805" v="3778" actId="1038"/>
          <ac:spMkLst>
            <pc:docMk/>
            <pc:sldMk cId="1453180239" sldId="2146845394"/>
            <ac:spMk id="45" creationId="{377B2361-6958-4673-BA0A-3F4E122240F2}"/>
          </ac:spMkLst>
        </pc:spChg>
        <pc:spChg chg="add mod">
          <ac:chgData name="Gareth Allott" userId="d67bc1e7-5e6e-4540-bcf9-468a02f7a83e" providerId="ADAL" clId="{73C83929-70DB-46AC-846C-28C43116D9C0}" dt="2021-03-26T09:56:32.805" v="3778" actId="1038"/>
          <ac:spMkLst>
            <pc:docMk/>
            <pc:sldMk cId="1453180239" sldId="2146845394"/>
            <ac:spMk id="46" creationId="{9AE0AD14-3F7B-4171-B7F2-76A5BB63996B}"/>
          </ac:spMkLst>
        </pc:spChg>
        <pc:spChg chg="add mod">
          <ac:chgData name="Gareth Allott" userId="d67bc1e7-5e6e-4540-bcf9-468a02f7a83e" providerId="ADAL" clId="{73C83929-70DB-46AC-846C-28C43116D9C0}" dt="2021-03-26T09:56:32.805" v="3778" actId="1038"/>
          <ac:spMkLst>
            <pc:docMk/>
            <pc:sldMk cId="1453180239" sldId="2146845394"/>
            <ac:spMk id="48" creationId="{CED44085-76CA-4BB8-9C66-E63013345373}"/>
          </ac:spMkLst>
        </pc:spChg>
        <pc:spChg chg="add mod">
          <ac:chgData name="Gareth Allott" userId="d67bc1e7-5e6e-4540-bcf9-468a02f7a83e" providerId="ADAL" clId="{73C83929-70DB-46AC-846C-28C43116D9C0}" dt="2021-03-26T10:12:43.199" v="3781" actId="207"/>
          <ac:spMkLst>
            <pc:docMk/>
            <pc:sldMk cId="1453180239" sldId="2146845394"/>
            <ac:spMk id="49" creationId="{F321FCF9-21D4-4F13-A346-32F6FAC8A622}"/>
          </ac:spMkLst>
        </pc:spChg>
        <pc:spChg chg="add mod">
          <ac:chgData name="Gareth Allott" userId="d67bc1e7-5e6e-4540-bcf9-468a02f7a83e" providerId="ADAL" clId="{73C83929-70DB-46AC-846C-28C43116D9C0}" dt="2021-03-26T09:56:32.805" v="3778" actId="1038"/>
          <ac:spMkLst>
            <pc:docMk/>
            <pc:sldMk cId="1453180239" sldId="2146845394"/>
            <ac:spMk id="50" creationId="{F1647C69-3073-49CC-948B-176C1E5BD5AD}"/>
          </ac:spMkLst>
        </pc:spChg>
        <pc:spChg chg="add mod">
          <ac:chgData name="Gareth Allott" userId="d67bc1e7-5e6e-4540-bcf9-468a02f7a83e" providerId="ADAL" clId="{73C83929-70DB-46AC-846C-28C43116D9C0}" dt="2021-03-26T09:56:32.805" v="3778" actId="1038"/>
          <ac:spMkLst>
            <pc:docMk/>
            <pc:sldMk cId="1453180239" sldId="2146845394"/>
            <ac:spMk id="53" creationId="{8D6E85D1-C1AC-48D3-8124-F9F785EBCEA5}"/>
          </ac:spMkLst>
        </pc:spChg>
        <pc:spChg chg="add mod">
          <ac:chgData name="Gareth Allott" userId="d67bc1e7-5e6e-4540-bcf9-468a02f7a83e" providerId="ADAL" clId="{73C83929-70DB-46AC-846C-28C43116D9C0}" dt="2021-03-26T09:56:32.805" v="3778" actId="1038"/>
          <ac:spMkLst>
            <pc:docMk/>
            <pc:sldMk cId="1453180239" sldId="2146845394"/>
            <ac:spMk id="55" creationId="{9A3B46CA-678C-4848-8074-56520DD25313}"/>
          </ac:spMkLst>
        </pc:spChg>
        <pc:spChg chg="add mod">
          <ac:chgData name="Gareth Allott" userId="d67bc1e7-5e6e-4540-bcf9-468a02f7a83e" providerId="ADAL" clId="{73C83929-70DB-46AC-846C-28C43116D9C0}" dt="2021-03-26T09:56:32.805" v="3778" actId="1038"/>
          <ac:spMkLst>
            <pc:docMk/>
            <pc:sldMk cId="1453180239" sldId="2146845394"/>
            <ac:spMk id="56" creationId="{265D45C1-755C-490C-A78F-A8A0BF73702A}"/>
          </ac:spMkLst>
        </pc:spChg>
        <pc:spChg chg="add del mod">
          <ac:chgData name="Gareth Allott" userId="d67bc1e7-5e6e-4540-bcf9-468a02f7a83e" providerId="ADAL" clId="{73C83929-70DB-46AC-846C-28C43116D9C0}" dt="2021-03-26T10:42:35.943" v="3922"/>
          <ac:spMkLst>
            <pc:docMk/>
            <pc:sldMk cId="1453180239" sldId="2146845394"/>
            <ac:spMk id="61" creationId="{B1454B12-7E46-4D90-AC67-8BF5F8280721}"/>
          </ac:spMkLst>
        </pc:spChg>
        <pc:spChg chg="add del mod">
          <ac:chgData name="Gareth Allott" userId="d67bc1e7-5e6e-4540-bcf9-468a02f7a83e" providerId="ADAL" clId="{73C83929-70DB-46AC-846C-28C43116D9C0}" dt="2021-03-26T10:42:35.943" v="3922"/>
          <ac:spMkLst>
            <pc:docMk/>
            <pc:sldMk cId="1453180239" sldId="2146845394"/>
            <ac:spMk id="62" creationId="{CB83793D-18DC-43D9-A443-14874BF326CE}"/>
          </ac:spMkLst>
        </pc:spChg>
        <pc:spChg chg="add del mod">
          <ac:chgData name="Gareth Allott" userId="d67bc1e7-5e6e-4540-bcf9-468a02f7a83e" providerId="ADAL" clId="{73C83929-70DB-46AC-846C-28C43116D9C0}" dt="2021-03-26T10:42:35.943" v="3922"/>
          <ac:spMkLst>
            <pc:docMk/>
            <pc:sldMk cId="1453180239" sldId="2146845394"/>
            <ac:spMk id="63" creationId="{18310BA4-E1AD-492E-A952-E570293802EC}"/>
          </ac:spMkLst>
        </pc:spChg>
        <pc:spChg chg="add del mod">
          <ac:chgData name="Gareth Allott" userId="d67bc1e7-5e6e-4540-bcf9-468a02f7a83e" providerId="ADAL" clId="{73C83929-70DB-46AC-846C-28C43116D9C0}" dt="2021-03-26T10:42:35.943" v="3922"/>
          <ac:spMkLst>
            <pc:docMk/>
            <pc:sldMk cId="1453180239" sldId="2146845394"/>
            <ac:spMk id="64" creationId="{37AFE3CF-628F-4C4E-8DCA-2EA15717DD58}"/>
          </ac:spMkLst>
        </pc:spChg>
        <pc:spChg chg="del">
          <ac:chgData name="Gareth Allott" userId="d67bc1e7-5e6e-4540-bcf9-468a02f7a83e" providerId="ADAL" clId="{73C83929-70DB-46AC-846C-28C43116D9C0}" dt="2021-03-26T09:54:25.606" v="3708" actId="478"/>
          <ac:spMkLst>
            <pc:docMk/>
            <pc:sldMk cId="1453180239" sldId="2146845394"/>
            <ac:spMk id="74" creationId="{CF50AA5F-96BC-485B-A81E-E0C5E36E80AF}"/>
          </ac:spMkLst>
        </pc:spChg>
        <pc:spChg chg="del">
          <ac:chgData name="Gareth Allott" userId="d67bc1e7-5e6e-4540-bcf9-468a02f7a83e" providerId="ADAL" clId="{73C83929-70DB-46AC-846C-28C43116D9C0}" dt="2021-03-26T09:54:25.606" v="3708" actId="478"/>
          <ac:spMkLst>
            <pc:docMk/>
            <pc:sldMk cId="1453180239" sldId="2146845394"/>
            <ac:spMk id="75" creationId="{31213884-41E1-426A-933F-51F6C448EF42}"/>
          </ac:spMkLst>
        </pc:spChg>
        <pc:spChg chg="del">
          <ac:chgData name="Gareth Allott" userId="d67bc1e7-5e6e-4540-bcf9-468a02f7a83e" providerId="ADAL" clId="{73C83929-70DB-46AC-846C-28C43116D9C0}" dt="2021-03-26T09:54:25.606" v="3708" actId="478"/>
          <ac:spMkLst>
            <pc:docMk/>
            <pc:sldMk cId="1453180239" sldId="2146845394"/>
            <ac:spMk id="76" creationId="{F35B057C-F3A3-4F22-AB2B-1CC9F004B2A3}"/>
          </ac:spMkLst>
        </pc:spChg>
        <pc:spChg chg="del">
          <ac:chgData name="Gareth Allott" userId="d67bc1e7-5e6e-4540-bcf9-468a02f7a83e" providerId="ADAL" clId="{73C83929-70DB-46AC-846C-28C43116D9C0}" dt="2021-03-26T09:54:25.606" v="3708" actId="478"/>
          <ac:spMkLst>
            <pc:docMk/>
            <pc:sldMk cId="1453180239" sldId="2146845394"/>
            <ac:spMk id="80" creationId="{02CBDA2C-822E-434D-BE85-2C3CCFCD8027}"/>
          </ac:spMkLst>
        </pc:spChg>
        <pc:spChg chg="del">
          <ac:chgData name="Gareth Allott" userId="d67bc1e7-5e6e-4540-bcf9-468a02f7a83e" providerId="ADAL" clId="{73C83929-70DB-46AC-846C-28C43116D9C0}" dt="2021-03-26T09:54:25.606" v="3708" actId="478"/>
          <ac:spMkLst>
            <pc:docMk/>
            <pc:sldMk cId="1453180239" sldId="2146845394"/>
            <ac:spMk id="82" creationId="{4221E554-3F47-4704-880D-3D914EE0AE73}"/>
          </ac:spMkLst>
        </pc:spChg>
        <pc:spChg chg="del">
          <ac:chgData name="Gareth Allott" userId="d67bc1e7-5e6e-4540-bcf9-468a02f7a83e" providerId="ADAL" clId="{73C83929-70DB-46AC-846C-28C43116D9C0}" dt="2021-03-26T09:54:25.606" v="3708" actId="478"/>
          <ac:spMkLst>
            <pc:docMk/>
            <pc:sldMk cId="1453180239" sldId="2146845394"/>
            <ac:spMk id="83" creationId="{ED2297F6-10CC-49C2-80A2-0B050A9BEA47}"/>
          </ac:spMkLst>
        </pc:spChg>
        <pc:picChg chg="del">
          <ac:chgData name="Gareth Allott" userId="d67bc1e7-5e6e-4540-bcf9-468a02f7a83e" providerId="ADAL" clId="{73C83929-70DB-46AC-846C-28C43116D9C0}" dt="2021-03-26T09:54:48.027" v="3713" actId="478"/>
          <ac:picMkLst>
            <pc:docMk/>
            <pc:sldMk cId="1453180239" sldId="2146845394"/>
            <ac:picMk id="15" creationId="{197CB2C7-0C9B-42E2-8F15-003B9D74C01E}"/>
          </ac:picMkLst>
        </pc:picChg>
        <pc:picChg chg="del">
          <ac:chgData name="Gareth Allott" userId="d67bc1e7-5e6e-4540-bcf9-468a02f7a83e" providerId="ADAL" clId="{73C83929-70DB-46AC-846C-28C43116D9C0}" dt="2021-03-26T09:54:48.027" v="3713" actId="478"/>
          <ac:picMkLst>
            <pc:docMk/>
            <pc:sldMk cId="1453180239" sldId="2146845394"/>
            <ac:picMk id="19" creationId="{1FAD771E-8F4B-4C0B-B124-EF3D16E36240}"/>
          </ac:picMkLst>
        </pc:picChg>
        <pc:picChg chg="del">
          <ac:chgData name="Gareth Allott" userId="d67bc1e7-5e6e-4540-bcf9-468a02f7a83e" providerId="ADAL" clId="{73C83929-70DB-46AC-846C-28C43116D9C0}" dt="2021-03-26T09:54:25.606" v="3708" actId="478"/>
          <ac:picMkLst>
            <pc:docMk/>
            <pc:sldMk cId="1453180239" sldId="2146845394"/>
            <ac:picMk id="27" creationId="{C352F4D3-1981-4926-98A3-438DA2E1ABF0}"/>
          </ac:picMkLst>
        </pc:picChg>
        <pc:picChg chg="del">
          <ac:chgData name="Gareth Allott" userId="d67bc1e7-5e6e-4540-bcf9-468a02f7a83e" providerId="ADAL" clId="{73C83929-70DB-46AC-846C-28C43116D9C0}" dt="2021-03-26T09:54:25.606" v="3708" actId="478"/>
          <ac:picMkLst>
            <pc:docMk/>
            <pc:sldMk cId="1453180239" sldId="2146845394"/>
            <ac:picMk id="32" creationId="{FB9F9049-B62F-4E58-A7C7-AD2DA34AB794}"/>
          </ac:picMkLst>
        </pc:picChg>
        <pc:picChg chg="add mod">
          <ac:chgData name="Gareth Allott" userId="d67bc1e7-5e6e-4540-bcf9-468a02f7a83e" providerId="ADAL" clId="{73C83929-70DB-46AC-846C-28C43116D9C0}" dt="2021-03-26T09:54:59.738" v="3748"/>
          <ac:picMkLst>
            <pc:docMk/>
            <pc:sldMk cId="1453180239" sldId="2146845394"/>
            <ac:picMk id="36" creationId="{10731EDE-360E-4B3F-A806-DA55E2B0A590}"/>
          </ac:picMkLst>
        </pc:picChg>
        <pc:picChg chg="del">
          <ac:chgData name="Gareth Allott" userId="d67bc1e7-5e6e-4540-bcf9-468a02f7a83e" providerId="ADAL" clId="{73C83929-70DB-46AC-846C-28C43116D9C0}" dt="2021-03-26T09:54:25.606" v="3708" actId="478"/>
          <ac:picMkLst>
            <pc:docMk/>
            <pc:sldMk cId="1453180239" sldId="2146845394"/>
            <ac:picMk id="37" creationId="{84512670-9D8F-410C-BC26-BA20C06CFDD9}"/>
          </ac:picMkLst>
        </pc:picChg>
        <pc:picChg chg="add mod">
          <ac:chgData name="Gareth Allott" userId="d67bc1e7-5e6e-4540-bcf9-468a02f7a83e" providerId="ADAL" clId="{73C83929-70DB-46AC-846C-28C43116D9C0}" dt="2021-03-26T09:56:32.805" v="3778" actId="1038"/>
          <ac:picMkLst>
            <pc:docMk/>
            <pc:sldMk cId="1453180239" sldId="2146845394"/>
            <ac:picMk id="41" creationId="{04DE4AAF-6A01-43BF-A1D7-B96F025B4989}"/>
          </ac:picMkLst>
        </pc:picChg>
        <pc:picChg chg="add mod">
          <ac:chgData name="Gareth Allott" userId="d67bc1e7-5e6e-4540-bcf9-468a02f7a83e" providerId="ADAL" clId="{73C83929-70DB-46AC-846C-28C43116D9C0}" dt="2021-03-26T09:56:32.805" v="3778" actId="1038"/>
          <ac:picMkLst>
            <pc:docMk/>
            <pc:sldMk cId="1453180239" sldId="2146845394"/>
            <ac:picMk id="44" creationId="{77482B16-5968-42C4-8620-0CA45D0B0A8C}"/>
          </ac:picMkLst>
        </pc:picChg>
        <pc:picChg chg="add mod">
          <ac:chgData name="Gareth Allott" userId="d67bc1e7-5e6e-4540-bcf9-468a02f7a83e" providerId="ADAL" clId="{73C83929-70DB-46AC-846C-28C43116D9C0}" dt="2021-03-26T09:56:32.805" v="3778" actId="1038"/>
          <ac:picMkLst>
            <pc:docMk/>
            <pc:sldMk cId="1453180239" sldId="2146845394"/>
            <ac:picMk id="47" creationId="{CCE00872-C296-4678-9485-34CE9CAA1356}"/>
          </ac:picMkLst>
        </pc:picChg>
        <pc:picChg chg="add mod">
          <ac:chgData name="Gareth Allott" userId="d67bc1e7-5e6e-4540-bcf9-468a02f7a83e" providerId="ADAL" clId="{73C83929-70DB-46AC-846C-28C43116D9C0}" dt="2021-03-26T09:56:32.805" v="3778" actId="1038"/>
          <ac:picMkLst>
            <pc:docMk/>
            <pc:sldMk cId="1453180239" sldId="2146845394"/>
            <ac:picMk id="51" creationId="{49A085C3-AEC8-4E9A-972F-89F1AFA79961}"/>
          </ac:picMkLst>
        </pc:picChg>
        <pc:picChg chg="add mod">
          <ac:chgData name="Gareth Allott" userId="d67bc1e7-5e6e-4540-bcf9-468a02f7a83e" providerId="ADAL" clId="{73C83929-70DB-46AC-846C-28C43116D9C0}" dt="2021-03-26T09:56:32.805" v="3778" actId="1038"/>
          <ac:picMkLst>
            <pc:docMk/>
            <pc:sldMk cId="1453180239" sldId="2146845394"/>
            <ac:picMk id="54" creationId="{9B451FC6-84F2-48C1-BDEB-B9488A3196F9}"/>
          </ac:picMkLst>
        </pc:picChg>
        <pc:picChg chg="add mod">
          <ac:chgData name="Gareth Allott" userId="d67bc1e7-5e6e-4540-bcf9-468a02f7a83e" providerId="ADAL" clId="{73C83929-70DB-46AC-846C-28C43116D9C0}" dt="2021-03-26T09:56:32.805" v="3778" actId="1038"/>
          <ac:picMkLst>
            <pc:docMk/>
            <pc:sldMk cId="1453180239" sldId="2146845394"/>
            <ac:picMk id="57" creationId="{473AAA6F-6D9D-4A3C-AF27-196A1B9BAF59}"/>
          </ac:picMkLst>
        </pc:picChg>
        <pc:picChg chg="add del mod">
          <ac:chgData name="Gareth Allott" userId="d67bc1e7-5e6e-4540-bcf9-468a02f7a83e" providerId="ADAL" clId="{73C83929-70DB-46AC-846C-28C43116D9C0}" dt="2021-03-26T09:55:59.067" v="3759" actId="478"/>
          <ac:picMkLst>
            <pc:docMk/>
            <pc:sldMk cId="1453180239" sldId="2146845394"/>
            <ac:picMk id="58" creationId="{DDDE7F01-64E6-4035-AD62-0A8E18C6EF0B}"/>
          </ac:picMkLst>
        </pc:picChg>
        <pc:picChg chg="add mod">
          <ac:chgData name="Gareth Allott" userId="d67bc1e7-5e6e-4540-bcf9-468a02f7a83e" providerId="ADAL" clId="{73C83929-70DB-46AC-846C-28C43116D9C0}" dt="2021-03-26T09:56:32.805" v="3778" actId="1038"/>
          <ac:picMkLst>
            <pc:docMk/>
            <pc:sldMk cId="1453180239" sldId="2146845394"/>
            <ac:picMk id="59" creationId="{CC34CABE-31A0-4B5D-8208-1F8295C8EB04}"/>
          </ac:picMkLst>
        </pc:picChg>
        <pc:picChg chg="add mod">
          <ac:chgData name="Gareth Allott" userId="d67bc1e7-5e6e-4540-bcf9-468a02f7a83e" providerId="ADAL" clId="{73C83929-70DB-46AC-846C-28C43116D9C0}" dt="2021-03-26T09:56:32.805" v="3778" actId="1038"/>
          <ac:picMkLst>
            <pc:docMk/>
            <pc:sldMk cId="1453180239" sldId="2146845394"/>
            <ac:picMk id="60" creationId="{B480BDF6-0ABB-4A4D-8996-50A2112FE79C}"/>
          </ac:picMkLst>
        </pc:picChg>
        <pc:picChg chg="del">
          <ac:chgData name="Gareth Allott" userId="d67bc1e7-5e6e-4540-bcf9-468a02f7a83e" providerId="ADAL" clId="{73C83929-70DB-46AC-846C-28C43116D9C0}" dt="2021-03-26T09:54:25.606" v="3708" actId="478"/>
          <ac:picMkLst>
            <pc:docMk/>
            <pc:sldMk cId="1453180239" sldId="2146845394"/>
            <ac:picMk id="81" creationId="{91ADE453-E1D1-4502-AD92-8640C962CD4C}"/>
          </ac:picMkLst>
        </pc:picChg>
        <pc:picChg chg="del">
          <ac:chgData name="Gareth Allott" userId="d67bc1e7-5e6e-4540-bcf9-468a02f7a83e" providerId="ADAL" clId="{73C83929-70DB-46AC-846C-28C43116D9C0}" dt="2021-03-26T09:54:25.606" v="3708" actId="478"/>
          <ac:picMkLst>
            <pc:docMk/>
            <pc:sldMk cId="1453180239" sldId="2146845394"/>
            <ac:picMk id="84" creationId="{53F8B173-723F-45D7-A793-6713BF7ADB36}"/>
          </ac:picMkLst>
        </pc:picChg>
        <pc:picChg chg="del">
          <ac:chgData name="Gareth Allott" userId="d67bc1e7-5e6e-4540-bcf9-468a02f7a83e" providerId="ADAL" clId="{73C83929-70DB-46AC-846C-28C43116D9C0}" dt="2021-03-26T09:54:25.606" v="3708" actId="478"/>
          <ac:picMkLst>
            <pc:docMk/>
            <pc:sldMk cId="1453180239" sldId="2146845394"/>
            <ac:picMk id="85" creationId="{48F90E7F-3396-45F9-ABD9-AD5144A1123F}"/>
          </ac:picMkLst>
        </pc:picChg>
        <pc:cxnChg chg="del">
          <ac:chgData name="Gareth Allott" userId="d67bc1e7-5e6e-4540-bcf9-468a02f7a83e" providerId="ADAL" clId="{73C83929-70DB-46AC-846C-28C43116D9C0}" dt="2021-03-26T09:54:25.606" v="3708" actId="478"/>
          <ac:cxnSpMkLst>
            <pc:docMk/>
            <pc:sldMk cId="1453180239" sldId="2146845394"/>
            <ac:cxnSpMk id="29" creationId="{3249B83B-84BB-4A3E-81BF-EC28611A31DA}"/>
          </ac:cxnSpMkLst>
        </pc:cxnChg>
        <pc:cxnChg chg="add mod">
          <ac:chgData name="Gareth Allott" userId="d67bc1e7-5e6e-4540-bcf9-468a02f7a83e" providerId="ADAL" clId="{73C83929-70DB-46AC-846C-28C43116D9C0}" dt="2021-03-26T09:56:32.805" v="3778" actId="1038"/>
          <ac:cxnSpMkLst>
            <pc:docMk/>
            <pc:sldMk cId="1453180239" sldId="2146845394"/>
            <ac:cxnSpMk id="42" creationId="{32CF761B-4B23-4F59-AE59-2EAA707D5275}"/>
          </ac:cxnSpMkLst>
        </pc:cxnChg>
        <pc:cxnChg chg="add mod">
          <ac:chgData name="Gareth Allott" userId="d67bc1e7-5e6e-4540-bcf9-468a02f7a83e" providerId="ADAL" clId="{73C83929-70DB-46AC-846C-28C43116D9C0}" dt="2021-03-26T09:56:32.805" v="3778" actId="1038"/>
          <ac:cxnSpMkLst>
            <pc:docMk/>
            <pc:sldMk cId="1453180239" sldId="2146845394"/>
            <ac:cxnSpMk id="52" creationId="{2D2DED7D-3777-45C7-9E9F-3FFBFDECA242}"/>
          </ac:cxnSpMkLst>
        </pc:cxnChg>
        <pc:cxnChg chg="del">
          <ac:chgData name="Gareth Allott" userId="d67bc1e7-5e6e-4540-bcf9-468a02f7a83e" providerId="ADAL" clId="{73C83929-70DB-46AC-846C-28C43116D9C0}" dt="2021-03-26T09:54:25.606" v="3708" actId="478"/>
          <ac:cxnSpMkLst>
            <pc:docMk/>
            <pc:sldMk cId="1453180239" sldId="2146845394"/>
            <ac:cxnSpMk id="79" creationId="{B19849EC-65FC-4E0D-AB76-A9C76CDFD381}"/>
          </ac:cxnSpMkLst>
        </pc:cxnChg>
        <pc:cxnChg chg="del mod">
          <ac:chgData name="Gareth Allott" userId="d67bc1e7-5e6e-4540-bcf9-468a02f7a83e" providerId="ADAL" clId="{73C83929-70DB-46AC-846C-28C43116D9C0}" dt="2021-03-26T09:54:25.606" v="3708" actId="478"/>
          <ac:cxnSpMkLst>
            <pc:docMk/>
            <pc:sldMk cId="1453180239" sldId="2146845394"/>
            <ac:cxnSpMk id="87" creationId="{EBA2F40A-FEC0-40FA-B19A-1236FA753E82}"/>
          </ac:cxnSpMkLst>
        </pc:cxnChg>
      </pc:sldChg>
      <pc:sldChg chg="addSp delSp modSp add mod ord">
        <pc:chgData name="Gareth Allott" userId="d67bc1e7-5e6e-4540-bcf9-468a02f7a83e" providerId="ADAL" clId="{73C83929-70DB-46AC-846C-28C43116D9C0}" dt="2021-03-26T11:32:51.721" v="4503" actId="20577"/>
        <pc:sldMkLst>
          <pc:docMk/>
          <pc:sldMk cId="1974592967" sldId="2146845395"/>
        </pc:sldMkLst>
        <pc:spChg chg="del">
          <ac:chgData name="Gareth Allott" userId="d67bc1e7-5e6e-4540-bcf9-468a02f7a83e" providerId="ADAL" clId="{73C83929-70DB-46AC-846C-28C43116D9C0}" dt="2021-03-26T10:54:16.781" v="3949" actId="478"/>
          <ac:spMkLst>
            <pc:docMk/>
            <pc:sldMk cId="1974592967" sldId="2146845395"/>
            <ac:spMk id="2" creationId="{B846000C-2A2D-4A8B-A061-DBEC204AC798}"/>
          </ac:spMkLst>
        </pc:spChg>
        <pc:spChg chg="mod">
          <ac:chgData name="Gareth Allott" userId="d67bc1e7-5e6e-4540-bcf9-468a02f7a83e" providerId="ADAL" clId="{73C83929-70DB-46AC-846C-28C43116D9C0}" dt="2021-03-26T11:32:47.289" v="4499" actId="20577"/>
          <ac:spMkLst>
            <pc:docMk/>
            <pc:sldMk cId="1974592967" sldId="2146845395"/>
            <ac:spMk id="5" creationId="{DE226D76-DFDC-493D-BC2A-95A0A748F140}"/>
          </ac:spMkLst>
        </pc:spChg>
        <pc:spChg chg="mod">
          <ac:chgData name="Gareth Allott" userId="d67bc1e7-5e6e-4540-bcf9-468a02f7a83e" providerId="ADAL" clId="{73C83929-70DB-46AC-846C-28C43116D9C0}" dt="2021-03-26T11:32:51.721" v="4503" actId="20577"/>
          <ac:spMkLst>
            <pc:docMk/>
            <pc:sldMk cId="1974592967" sldId="2146845395"/>
            <ac:spMk id="6" creationId="{ECE7C206-623B-4EC4-A2AB-386E2D02627B}"/>
          </ac:spMkLst>
        </pc:spChg>
        <pc:spChg chg="add mod">
          <ac:chgData name="Gareth Allott" userId="d67bc1e7-5e6e-4540-bcf9-468a02f7a83e" providerId="ADAL" clId="{73C83929-70DB-46AC-846C-28C43116D9C0}" dt="2021-03-26T10:42:38.087" v="3926" actId="571"/>
          <ac:spMkLst>
            <pc:docMk/>
            <pc:sldMk cId="1974592967" sldId="2146845395"/>
            <ac:spMk id="13" creationId="{204CB2F0-DAC3-466B-8278-FCF469D313A4}"/>
          </ac:spMkLst>
        </pc:spChg>
        <pc:spChg chg="add mod">
          <ac:chgData name="Gareth Allott" userId="d67bc1e7-5e6e-4540-bcf9-468a02f7a83e" providerId="ADAL" clId="{73C83929-70DB-46AC-846C-28C43116D9C0}" dt="2021-03-26T10:42:37.648" v="3925" actId="571"/>
          <ac:spMkLst>
            <pc:docMk/>
            <pc:sldMk cId="1974592967" sldId="2146845395"/>
            <ac:spMk id="14" creationId="{40C11391-ECE9-4071-9A58-BFF7AF0DE89F}"/>
          </ac:spMkLst>
        </pc:spChg>
        <pc:spChg chg="add mod">
          <ac:chgData name="Gareth Allott" userId="d67bc1e7-5e6e-4540-bcf9-468a02f7a83e" providerId="ADAL" clId="{73C83929-70DB-46AC-846C-28C43116D9C0}" dt="2021-03-26T10:42:36.615" v="3924" actId="571"/>
          <ac:spMkLst>
            <pc:docMk/>
            <pc:sldMk cId="1974592967" sldId="2146845395"/>
            <ac:spMk id="18" creationId="{3BC7F7CD-2642-4CCF-9DAB-8BD54F209EBE}"/>
          </ac:spMkLst>
        </pc:spChg>
        <pc:spChg chg="add mod">
          <ac:chgData name="Gareth Allott" userId="d67bc1e7-5e6e-4540-bcf9-468a02f7a83e" providerId="ADAL" clId="{73C83929-70DB-46AC-846C-28C43116D9C0}" dt="2021-03-26T10:43:16.282" v="3947"/>
          <ac:spMkLst>
            <pc:docMk/>
            <pc:sldMk cId="1974592967" sldId="2146845395"/>
            <ac:spMk id="21" creationId="{009DFDF9-6484-4552-A400-5277AEB87AB3}"/>
          </ac:spMkLst>
        </pc:spChg>
        <pc:spChg chg="add mod">
          <ac:chgData name="Gareth Allott" userId="d67bc1e7-5e6e-4540-bcf9-468a02f7a83e" providerId="ADAL" clId="{73C83929-70DB-46AC-846C-28C43116D9C0}" dt="2021-03-26T10:43:16.282" v="3947"/>
          <ac:spMkLst>
            <pc:docMk/>
            <pc:sldMk cId="1974592967" sldId="2146845395"/>
            <ac:spMk id="22" creationId="{941E0DE6-2AE1-4463-9200-CDD40B9F8331}"/>
          </ac:spMkLst>
        </pc:spChg>
        <pc:spChg chg="add mod">
          <ac:chgData name="Gareth Allott" userId="d67bc1e7-5e6e-4540-bcf9-468a02f7a83e" providerId="ADAL" clId="{73C83929-70DB-46AC-846C-28C43116D9C0}" dt="2021-03-26T10:43:16.282" v="3947"/>
          <ac:spMkLst>
            <pc:docMk/>
            <pc:sldMk cId="1974592967" sldId="2146845395"/>
            <ac:spMk id="23" creationId="{C8B19940-09D1-4817-85EA-D83E8FF5CE61}"/>
          </ac:spMkLst>
        </pc:spChg>
        <pc:spChg chg="add mod">
          <ac:chgData name="Gareth Allott" userId="d67bc1e7-5e6e-4540-bcf9-468a02f7a83e" providerId="ADAL" clId="{73C83929-70DB-46AC-846C-28C43116D9C0}" dt="2021-03-26T10:43:16.282" v="3947"/>
          <ac:spMkLst>
            <pc:docMk/>
            <pc:sldMk cId="1974592967" sldId="2146845395"/>
            <ac:spMk id="24" creationId="{06CB3818-19AD-474B-A201-D9211BF9785D}"/>
          </ac:spMkLst>
        </pc:spChg>
        <pc:graphicFrameChg chg="add mod modGraphic">
          <ac:chgData name="Gareth Allott" userId="d67bc1e7-5e6e-4540-bcf9-468a02f7a83e" providerId="ADAL" clId="{73C83929-70DB-46AC-846C-28C43116D9C0}" dt="2021-03-26T10:42:41.131" v="3930" actId="404"/>
          <ac:graphicFrameMkLst>
            <pc:docMk/>
            <pc:sldMk cId="1974592967" sldId="2146845395"/>
            <ac:graphicFrameMk id="3" creationId="{EAAD9A9E-D080-4A6E-AE56-E9003A947992}"/>
          </ac:graphicFrameMkLst>
        </pc:graphicFrameChg>
      </pc:sldChg>
      <pc:sldChg chg="addSp delSp modSp add mod">
        <pc:chgData name="Gareth Allott" userId="d67bc1e7-5e6e-4540-bcf9-468a02f7a83e" providerId="ADAL" clId="{73C83929-70DB-46AC-846C-28C43116D9C0}" dt="2021-03-26T13:21:16.669" v="5320" actId="1038"/>
        <pc:sldMkLst>
          <pc:docMk/>
          <pc:sldMk cId="1518795803" sldId="2146845396"/>
        </pc:sldMkLst>
        <pc:spChg chg="add mod">
          <ac:chgData name="Gareth Allott" userId="d67bc1e7-5e6e-4540-bcf9-468a02f7a83e" providerId="ADAL" clId="{73C83929-70DB-46AC-846C-28C43116D9C0}" dt="2021-03-26T11:26:13.439" v="4264" actId="113"/>
          <ac:spMkLst>
            <pc:docMk/>
            <pc:sldMk cId="1518795803" sldId="2146845396"/>
            <ac:spMk id="2" creationId="{12F82286-53DA-46C4-A44F-F591E2E33200}"/>
          </ac:spMkLst>
        </pc:spChg>
        <pc:spChg chg="mod">
          <ac:chgData name="Gareth Allott" userId="d67bc1e7-5e6e-4540-bcf9-468a02f7a83e" providerId="ADAL" clId="{73C83929-70DB-46AC-846C-28C43116D9C0}" dt="2021-03-26T11:33:11.554" v="4523" actId="20577"/>
          <ac:spMkLst>
            <pc:docMk/>
            <pc:sldMk cId="1518795803" sldId="2146845396"/>
            <ac:spMk id="5" creationId="{DE226D76-DFDC-493D-BC2A-95A0A748F140}"/>
          </ac:spMkLst>
        </pc:spChg>
        <pc:spChg chg="mod">
          <ac:chgData name="Gareth Allott" userId="d67bc1e7-5e6e-4540-bcf9-468a02f7a83e" providerId="ADAL" clId="{73C83929-70DB-46AC-846C-28C43116D9C0}" dt="2021-03-26T11:33:14.883" v="4527" actId="20577"/>
          <ac:spMkLst>
            <pc:docMk/>
            <pc:sldMk cId="1518795803" sldId="2146845396"/>
            <ac:spMk id="6" creationId="{ECE7C206-623B-4EC4-A2AB-386E2D02627B}"/>
          </ac:spMkLst>
        </pc:spChg>
        <pc:spChg chg="del">
          <ac:chgData name="Gareth Allott" userId="d67bc1e7-5e6e-4540-bcf9-468a02f7a83e" providerId="ADAL" clId="{73C83929-70DB-46AC-846C-28C43116D9C0}" dt="2021-03-26T11:25:44.865" v="4165" actId="478"/>
          <ac:spMkLst>
            <pc:docMk/>
            <pc:sldMk cId="1518795803" sldId="2146845396"/>
            <ac:spMk id="21" creationId="{D5EC4ACA-AD91-4640-80C9-57C0E290A8D5}"/>
          </ac:spMkLst>
        </pc:spChg>
        <pc:spChg chg="del">
          <ac:chgData name="Gareth Allott" userId="d67bc1e7-5e6e-4540-bcf9-468a02f7a83e" providerId="ADAL" clId="{73C83929-70DB-46AC-846C-28C43116D9C0}" dt="2021-03-26T11:25:44.865" v="4165" actId="478"/>
          <ac:spMkLst>
            <pc:docMk/>
            <pc:sldMk cId="1518795803" sldId="2146845396"/>
            <ac:spMk id="22" creationId="{7DBA80EA-8636-46AF-AB4F-8144EB03A5CD}"/>
          </ac:spMkLst>
        </pc:spChg>
        <pc:spChg chg="del">
          <ac:chgData name="Gareth Allott" userId="d67bc1e7-5e6e-4540-bcf9-468a02f7a83e" providerId="ADAL" clId="{73C83929-70DB-46AC-846C-28C43116D9C0}" dt="2021-03-26T11:25:44.865" v="4165" actId="478"/>
          <ac:spMkLst>
            <pc:docMk/>
            <pc:sldMk cId="1518795803" sldId="2146845396"/>
            <ac:spMk id="23" creationId="{AD1183A4-12E6-48A9-954D-97F53B69475B}"/>
          </ac:spMkLst>
        </pc:spChg>
        <pc:spChg chg="del">
          <ac:chgData name="Gareth Allott" userId="d67bc1e7-5e6e-4540-bcf9-468a02f7a83e" providerId="ADAL" clId="{73C83929-70DB-46AC-846C-28C43116D9C0}" dt="2021-03-26T11:25:44.865" v="4165" actId="478"/>
          <ac:spMkLst>
            <pc:docMk/>
            <pc:sldMk cId="1518795803" sldId="2146845396"/>
            <ac:spMk id="30" creationId="{907DB02E-E3DB-4B20-9297-E0658F938352}"/>
          </ac:spMkLst>
        </pc:spChg>
        <pc:spChg chg="del">
          <ac:chgData name="Gareth Allott" userId="d67bc1e7-5e6e-4540-bcf9-468a02f7a83e" providerId="ADAL" clId="{73C83929-70DB-46AC-846C-28C43116D9C0}" dt="2021-03-26T11:25:44.865" v="4165" actId="478"/>
          <ac:spMkLst>
            <pc:docMk/>
            <pc:sldMk cId="1518795803" sldId="2146845396"/>
            <ac:spMk id="33" creationId="{2D5F6816-D8D1-405D-BC21-896FB6F24BD3}"/>
          </ac:spMkLst>
        </pc:spChg>
        <pc:spChg chg="del">
          <ac:chgData name="Gareth Allott" userId="d67bc1e7-5e6e-4540-bcf9-468a02f7a83e" providerId="ADAL" clId="{73C83929-70DB-46AC-846C-28C43116D9C0}" dt="2021-03-26T11:25:44.865" v="4165" actId="478"/>
          <ac:spMkLst>
            <pc:docMk/>
            <pc:sldMk cId="1518795803" sldId="2146845396"/>
            <ac:spMk id="35" creationId="{23AF11C3-2B49-4FB7-B1BC-5DB18F9A835B}"/>
          </ac:spMkLst>
        </pc:spChg>
        <pc:spChg chg="add del mod">
          <ac:chgData name="Gareth Allott" userId="d67bc1e7-5e6e-4540-bcf9-468a02f7a83e" providerId="ADAL" clId="{73C83929-70DB-46AC-846C-28C43116D9C0}" dt="2021-03-26T11:26:55.801" v="4270"/>
          <ac:spMkLst>
            <pc:docMk/>
            <pc:sldMk cId="1518795803" sldId="2146845396"/>
            <ac:spMk id="36" creationId="{7DAFBF3B-4EBE-419C-9CE8-7506F6C08128}"/>
          </ac:spMkLst>
        </pc:spChg>
        <pc:spChg chg="add del mod">
          <ac:chgData name="Gareth Allott" userId="d67bc1e7-5e6e-4540-bcf9-468a02f7a83e" providerId="ADAL" clId="{73C83929-70DB-46AC-846C-28C43116D9C0}" dt="2021-03-26T11:26:55.801" v="4270"/>
          <ac:spMkLst>
            <pc:docMk/>
            <pc:sldMk cId="1518795803" sldId="2146845396"/>
            <ac:spMk id="38" creationId="{BC449980-E5D8-4221-B4F9-0854777FE9C8}"/>
          </ac:spMkLst>
        </pc:spChg>
        <pc:spChg chg="add del mod">
          <ac:chgData name="Gareth Allott" userId="d67bc1e7-5e6e-4540-bcf9-468a02f7a83e" providerId="ADAL" clId="{73C83929-70DB-46AC-846C-28C43116D9C0}" dt="2021-03-26T11:26:55.801" v="4270"/>
          <ac:spMkLst>
            <pc:docMk/>
            <pc:sldMk cId="1518795803" sldId="2146845396"/>
            <ac:spMk id="40" creationId="{866905EA-6453-4D8D-AC05-8B9F17D5A7CB}"/>
          </ac:spMkLst>
        </pc:spChg>
        <pc:spChg chg="add del mod">
          <ac:chgData name="Gareth Allott" userId="d67bc1e7-5e6e-4540-bcf9-468a02f7a83e" providerId="ADAL" clId="{73C83929-70DB-46AC-846C-28C43116D9C0}" dt="2021-03-26T11:26:55.801" v="4270"/>
          <ac:spMkLst>
            <pc:docMk/>
            <pc:sldMk cId="1518795803" sldId="2146845396"/>
            <ac:spMk id="42" creationId="{DC499E8B-D2BD-4D72-9812-C3045D472082}"/>
          </ac:spMkLst>
        </pc:spChg>
        <pc:spChg chg="add del mod">
          <ac:chgData name="Gareth Allott" userId="d67bc1e7-5e6e-4540-bcf9-468a02f7a83e" providerId="ADAL" clId="{73C83929-70DB-46AC-846C-28C43116D9C0}" dt="2021-03-26T11:26:55.801" v="4270"/>
          <ac:spMkLst>
            <pc:docMk/>
            <pc:sldMk cId="1518795803" sldId="2146845396"/>
            <ac:spMk id="43" creationId="{1504A494-3D12-449C-85F2-3A3BD2FEA90B}"/>
          </ac:spMkLst>
        </pc:spChg>
        <pc:spChg chg="add del mod">
          <ac:chgData name="Gareth Allott" userId="d67bc1e7-5e6e-4540-bcf9-468a02f7a83e" providerId="ADAL" clId="{73C83929-70DB-46AC-846C-28C43116D9C0}" dt="2021-03-26T11:26:55.801" v="4270"/>
          <ac:spMkLst>
            <pc:docMk/>
            <pc:sldMk cId="1518795803" sldId="2146845396"/>
            <ac:spMk id="44" creationId="{A53F23DA-627A-48BB-B9E0-5F59589972A6}"/>
          </ac:spMkLst>
        </pc:spChg>
        <pc:spChg chg="add del mod">
          <ac:chgData name="Gareth Allott" userId="d67bc1e7-5e6e-4540-bcf9-468a02f7a83e" providerId="ADAL" clId="{73C83929-70DB-46AC-846C-28C43116D9C0}" dt="2021-03-26T11:26:55.801" v="4270"/>
          <ac:spMkLst>
            <pc:docMk/>
            <pc:sldMk cId="1518795803" sldId="2146845396"/>
            <ac:spMk id="45" creationId="{958D7195-A299-4CBE-9357-BD0FA80889B7}"/>
          </ac:spMkLst>
        </pc:spChg>
        <pc:spChg chg="add del mod">
          <ac:chgData name="Gareth Allott" userId="d67bc1e7-5e6e-4540-bcf9-468a02f7a83e" providerId="ADAL" clId="{73C83929-70DB-46AC-846C-28C43116D9C0}" dt="2021-03-26T11:26:55.801" v="4270"/>
          <ac:spMkLst>
            <pc:docMk/>
            <pc:sldMk cId="1518795803" sldId="2146845396"/>
            <ac:spMk id="48" creationId="{C5E67293-42C0-4AFC-93C9-20AC613B1AD4}"/>
          </ac:spMkLst>
        </pc:spChg>
        <pc:spChg chg="add del mod">
          <ac:chgData name="Gareth Allott" userId="d67bc1e7-5e6e-4540-bcf9-468a02f7a83e" providerId="ADAL" clId="{73C83929-70DB-46AC-846C-28C43116D9C0}" dt="2021-03-26T11:26:55.801" v="4270"/>
          <ac:spMkLst>
            <pc:docMk/>
            <pc:sldMk cId="1518795803" sldId="2146845396"/>
            <ac:spMk id="49" creationId="{530E33AD-974F-4934-9038-AC626C43A463}"/>
          </ac:spMkLst>
        </pc:spChg>
        <pc:spChg chg="add del mod">
          <ac:chgData name="Gareth Allott" userId="d67bc1e7-5e6e-4540-bcf9-468a02f7a83e" providerId="ADAL" clId="{73C83929-70DB-46AC-846C-28C43116D9C0}" dt="2021-03-26T11:26:55.801" v="4270"/>
          <ac:spMkLst>
            <pc:docMk/>
            <pc:sldMk cId="1518795803" sldId="2146845396"/>
            <ac:spMk id="50" creationId="{E307DEDF-B758-47FB-AEB7-068515100B69}"/>
          </ac:spMkLst>
        </pc:spChg>
        <pc:spChg chg="add del mod">
          <ac:chgData name="Gareth Allott" userId="d67bc1e7-5e6e-4540-bcf9-468a02f7a83e" providerId="ADAL" clId="{73C83929-70DB-46AC-846C-28C43116D9C0}" dt="2021-03-26T11:26:55.801" v="4270"/>
          <ac:spMkLst>
            <pc:docMk/>
            <pc:sldMk cId="1518795803" sldId="2146845396"/>
            <ac:spMk id="51" creationId="{7A5DB816-AB78-40A0-A61E-EAA529244472}"/>
          </ac:spMkLst>
        </pc:spChg>
        <pc:spChg chg="add del mod">
          <ac:chgData name="Gareth Allott" userId="d67bc1e7-5e6e-4540-bcf9-468a02f7a83e" providerId="ADAL" clId="{73C83929-70DB-46AC-846C-28C43116D9C0}" dt="2021-03-26T11:26:55.801" v="4270"/>
          <ac:spMkLst>
            <pc:docMk/>
            <pc:sldMk cId="1518795803" sldId="2146845396"/>
            <ac:spMk id="52" creationId="{7DE68DD0-BE08-4BCA-9C54-9CFABDE046B7}"/>
          </ac:spMkLst>
        </pc:spChg>
        <pc:spChg chg="add del mod">
          <ac:chgData name="Gareth Allott" userId="d67bc1e7-5e6e-4540-bcf9-468a02f7a83e" providerId="ADAL" clId="{73C83929-70DB-46AC-846C-28C43116D9C0}" dt="2021-03-26T11:26:55.801" v="4270"/>
          <ac:spMkLst>
            <pc:docMk/>
            <pc:sldMk cId="1518795803" sldId="2146845396"/>
            <ac:spMk id="54" creationId="{ECE0551A-95BE-49AE-87AF-A2BF877B7A8D}"/>
          </ac:spMkLst>
        </pc:spChg>
        <pc:spChg chg="add del mod">
          <ac:chgData name="Gareth Allott" userId="d67bc1e7-5e6e-4540-bcf9-468a02f7a83e" providerId="ADAL" clId="{73C83929-70DB-46AC-846C-28C43116D9C0}" dt="2021-03-26T11:26:55.801" v="4270"/>
          <ac:spMkLst>
            <pc:docMk/>
            <pc:sldMk cId="1518795803" sldId="2146845396"/>
            <ac:spMk id="56" creationId="{A8B75244-716D-4AFB-ACD5-5857DD0C0DA1}"/>
          </ac:spMkLst>
        </pc:spChg>
        <pc:spChg chg="add del mod">
          <ac:chgData name="Gareth Allott" userId="d67bc1e7-5e6e-4540-bcf9-468a02f7a83e" providerId="ADAL" clId="{73C83929-70DB-46AC-846C-28C43116D9C0}" dt="2021-03-26T11:26:55.801" v="4270"/>
          <ac:spMkLst>
            <pc:docMk/>
            <pc:sldMk cId="1518795803" sldId="2146845396"/>
            <ac:spMk id="58" creationId="{83BE0AA1-600B-4753-81FA-A4D88541D185}"/>
          </ac:spMkLst>
        </pc:spChg>
        <pc:spChg chg="add del mod">
          <ac:chgData name="Gareth Allott" userId="d67bc1e7-5e6e-4540-bcf9-468a02f7a83e" providerId="ADAL" clId="{73C83929-70DB-46AC-846C-28C43116D9C0}" dt="2021-03-26T11:26:55.801" v="4270"/>
          <ac:spMkLst>
            <pc:docMk/>
            <pc:sldMk cId="1518795803" sldId="2146845396"/>
            <ac:spMk id="59" creationId="{0978A261-AA65-4727-B0C4-77D405C4E7F2}"/>
          </ac:spMkLst>
        </pc:spChg>
        <pc:spChg chg="add del mod">
          <ac:chgData name="Gareth Allott" userId="d67bc1e7-5e6e-4540-bcf9-468a02f7a83e" providerId="ADAL" clId="{73C83929-70DB-46AC-846C-28C43116D9C0}" dt="2021-03-26T11:26:55.801" v="4270"/>
          <ac:spMkLst>
            <pc:docMk/>
            <pc:sldMk cId="1518795803" sldId="2146845396"/>
            <ac:spMk id="60" creationId="{2741DD49-8125-408B-99CF-079DABE8A992}"/>
          </ac:spMkLst>
        </pc:spChg>
        <pc:spChg chg="add del mod">
          <ac:chgData name="Gareth Allott" userId="d67bc1e7-5e6e-4540-bcf9-468a02f7a83e" providerId="ADAL" clId="{73C83929-70DB-46AC-846C-28C43116D9C0}" dt="2021-03-26T11:26:55.801" v="4270"/>
          <ac:spMkLst>
            <pc:docMk/>
            <pc:sldMk cId="1518795803" sldId="2146845396"/>
            <ac:spMk id="61" creationId="{8320F09B-F722-4633-936D-FE0391592B2C}"/>
          </ac:spMkLst>
        </pc:spChg>
        <pc:spChg chg="add del mod">
          <ac:chgData name="Gareth Allott" userId="d67bc1e7-5e6e-4540-bcf9-468a02f7a83e" providerId="ADAL" clId="{73C83929-70DB-46AC-846C-28C43116D9C0}" dt="2021-03-26T11:26:55.801" v="4270"/>
          <ac:spMkLst>
            <pc:docMk/>
            <pc:sldMk cId="1518795803" sldId="2146845396"/>
            <ac:spMk id="62" creationId="{7AB04EA0-D80D-4ECF-9526-5072DBA2CF3B}"/>
          </ac:spMkLst>
        </pc:spChg>
        <pc:spChg chg="add del mod">
          <ac:chgData name="Gareth Allott" userId="d67bc1e7-5e6e-4540-bcf9-468a02f7a83e" providerId="ADAL" clId="{73C83929-70DB-46AC-846C-28C43116D9C0}" dt="2021-03-26T11:26:55.801" v="4270"/>
          <ac:spMkLst>
            <pc:docMk/>
            <pc:sldMk cId="1518795803" sldId="2146845396"/>
            <ac:spMk id="63" creationId="{F9588266-FF47-4128-9723-A75E22317C52}"/>
          </ac:spMkLst>
        </pc:spChg>
        <pc:spChg chg="add del mod">
          <ac:chgData name="Gareth Allott" userId="d67bc1e7-5e6e-4540-bcf9-468a02f7a83e" providerId="ADAL" clId="{73C83929-70DB-46AC-846C-28C43116D9C0}" dt="2021-03-26T11:26:55.801" v="4270"/>
          <ac:spMkLst>
            <pc:docMk/>
            <pc:sldMk cId="1518795803" sldId="2146845396"/>
            <ac:spMk id="64" creationId="{F7D4F5BC-9C03-4368-A0A2-BA3DF6492AE4}"/>
          </ac:spMkLst>
        </pc:spChg>
        <pc:spChg chg="add del mod">
          <ac:chgData name="Gareth Allott" userId="d67bc1e7-5e6e-4540-bcf9-468a02f7a83e" providerId="ADAL" clId="{73C83929-70DB-46AC-846C-28C43116D9C0}" dt="2021-03-26T11:26:55.801" v="4270"/>
          <ac:spMkLst>
            <pc:docMk/>
            <pc:sldMk cId="1518795803" sldId="2146845396"/>
            <ac:spMk id="65" creationId="{E914B7E6-9C84-4FA4-A312-ACCFD4B86034}"/>
          </ac:spMkLst>
        </pc:spChg>
        <pc:spChg chg="add del mod">
          <ac:chgData name="Gareth Allott" userId="d67bc1e7-5e6e-4540-bcf9-468a02f7a83e" providerId="ADAL" clId="{73C83929-70DB-46AC-846C-28C43116D9C0}" dt="2021-03-26T11:26:55.801" v="4270"/>
          <ac:spMkLst>
            <pc:docMk/>
            <pc:sldMk cId="1518795803" sldId="2146845396"/>
            <ac:spMk id="67" creationId="{ABFCAA91-17D6-4A62-BB15-1F2B4CA5AF4E}"/>
          </ac:spMkLst>
        </pc:spChg>
        <pc:spChg chg="add del mod">
          <ac:chgData name="Gareth Allott" userId="d67bc1e7-5e6e-4540-bcf9-468a02f7a83e" providerId="ADAL" clId="{73C83929-70DB-46AC-846C-28C43116D9C0}" dt="2021-03-26T11:26:55.801" v="4270"/>
          <ac:spMkLst>
            <pc:docMk/>
            <pc:sldMk cId="1518795803" sldId="2146845396"/>
            <ac:spMk id="68" creationId="{DBD2F052-8B16-4A05-BDD5-2E44AA69628C}"/>
          </ac:spMkLst>
        </pc:spChg>
        <pc:spChg chg="add del mod">
          <ac:chgData name="Gareth Allott" userId="d67bc1e7-5e6e-4540-bcf9-468a02f7a83e" providerId="ADAL" clId="{73C83929-70DB-46AC-846C-28C43116D9C0}" dt="2021-03-26T11:26:55.801" v="4270"/>
          <ac:spMkLst>
            <pc:docMk/>
            <pc:sldMk cId="1518795803" sldId="2146845396"/>
            <ac:spMk id="69" creationId="{5E8F93CA-4705-4E1A-843C-95627132C980}"/>
          </ac:spMkLst>
        </pc:spChg>
        <pc:spChg chg="add del mod">
          <ac:chgData name="Gareth Allott" userId="d67bc1e7-5e6e-4540-bcf9-468a02f7a83e" providerId="ADAL" clId="{73C83929-70DB-46AC-846C-28C43116D9C0}" dt="2021-03-26T11:26:55.801" v="4270"/>
          <ac:spMkLst>
            <pc:docMk/>
            <pc:sldMk cId="1518795803" sldId="2146845396"/>
            <ac:spMk id="71" creationId="{91FF89C2-E154-4533-BDD8-8BA03161895C}"/>
          </ac:spMkLst>
        </pc:spChg>
        <pc:spChg chg="add del mod">
          <ac:chgData name="Gareth Allott" userId="d67bc1e7-5e6e-4540-bcf9-468a02f7a83e" providerId="ADAL" clId="{73C83929-70DB-46AC-846C-28C43116D9C0}" dt="2021-03-26T11:26:55.801" v="4270"/>
          <ac:spMkLst>
            <pc:docMk/>
            <pc:sldMk cId="1518795803" sldId="2146845396"/>
            <ac:spMk id="72" creationId="{CF24437F-0856-4FE8-9FA8-9CBBBF32A2A6}"/>
          </ac:spMkLst>
        </pc:spChg>
        <pc:spChg chg="del">
          <ac:chgData name="Gareth Allott" userId="d67bc1e7-5e6e-4540-bcf9-468a02f7a83e" providerId="ADAL" clId="{73C83929-70DB-46AC-846C-28C43116D9C0}" dt="2021-03-26T11:25:44.865" v="4165" actId="478"/>
          <ac:spMkLst>
            <pc:docMk/>
            <pc:sldMk cId="1518795803" sldId="2146845396"/>
            <ac:spMk id="74" creationId="{CF50AA5F-96BC-485B-A81E-E0C5E36E80AF}"/>
          </ac:spMkLst>
        </pc:spChg>
        <pc:spChg chg="del">
          <ac:chgData name="Gareth Allott" userId="d67bc1e7-5e6e-4540-bcf9-468a02f7a83e" providerId="ADAL" clId="{73C83929-70DB-46AC-846C-28C43116D9C0}" dt="2021-03-26T11:25:44.865" v="4165" actId="478"/>
          <ac:spMkLst>
            <pc:docMk/>
            <pc:sldMk cId="1518795803" sldId="2146845396"/>
            <ac:spMk id="75" creationId="{31213884-41E1-426A-933F-51F6C448EF42}"/>
          </ac:spMkLst>
        </pc:spChg>
        <pc:spChg chg="del">
          <ac:chgData name="Gareth Allott" userId="d67bc1e7-5e6e-4540-bcf9-468a02f7a83e" providerId="ADAL" clId="{73C83929-70DB-46AC-846C-28C43116D9C0}" dt="2021-03-26T11:25:44.865" v="4165" actId="478"/>
          <ac:spMkLst>
            <pc:docMk/>
            <pc:sldMk cId="1518795803" sldId="2146845396"/>
            <ac:spMk id="76" creationId="{F35B057C-F3A3-4F22-AB2B-1CC9F004B2A3}"/>
          </ac:spMkLst>
        </pc:spChg>
        <pc:spChg chg="del">
          <ac:chgData name="Gareth Allott" userId="d67bc1e7-5e6e-4540-bcf9-468a02f7a83e" providerId="ADAL" clId="{73C83929-70DB-46AC-846C-28C43116D9C0}" dt="2021-03-26T11:25:44.865" v="4165" actId="478"/>
          <ac:spMkLst>
            <pc:docMk/>
            <pc:sldMk cId="1518795803" sldId="2146845396"/>
            <ac:spMk id="80" creationId="{02CBDA2C-822E-434D-BE85-2C3CCFCD8027}"/>
          </ac:spMkLst>
        </pc:spChg>
        <pc:spChg chg="del">
          <ac:chgData name="Gareth Allott" userId="d67bc1e7-5e6e-4540-bcf9-468a02f7a83e" providerId="ADAL" clId="{73C83929-70DB-46AC-846C-28C43116D9C0}" dt="2021-03-26T11:25:44.865" v="4165" actId="478"/>
          <ac:spMkLst>
            <pc:docMk/>
            <pc:sldMk cId="1518795803" sldId="2146845396"/>
            <ac:spMk id="82" creationId="{4221E554-3F47-4704-880D-3D914EE0AE73}"/>
          </ac:spMkLst>
        </pc:spChg>
        <pc:spChg chg="del">
          <ac:chgData name="Gareth Allott" userId="d67bc1e7-5e6e-4540-bcf9-468a02f7a83e" providerId="ADAL" clId="{73C83929-70DB-46AC-846C-28C43116D9C0}" dt="2021-03-26T11:25:44.865" v="4165" actId="478"/>
          <ac:spMkLst>
            <pc:docMk/>
            <pc:sldMk cId="1518795803" sldId="2146845396"/>
            <ac:spMk id="83" creationId="{ED2297F6-10CC-49C2-80A2-0B050A9BEA47}"/>
          </ac:spMkLst>
        </pc:spChg>
        <pc:spChg chg="del">
          <ac:chgData name="Gareth Allott" userId="d67bc1e7-5e6e-4540-bcf9-468a02f7a83e" providerId="ADAL" clId="{73C83929-70DB-46AC-846C-28C43116D9C0}" dt="2021-03-26T11:25:44.865" v="4165" actId="478"/>
          <ac:spMkLst>
            <pc:docMk/>
            <pc:sldMk cId="1518795803" sldId="2146845396"/>
            <ac:spMk id="132" creationId="{524010D7-D822-4B0A-8837-659404E1AD27}"/>
          </ac:spMkLst>
        </pc:spChg>
        <pc:picChg chg="add del">
          <ac:chgData name="Gareth Allott" userId="d67bc1e7-5e6e-4540-bcf9-468a02f7a83e" providerId="ADAL" clId="{73C83929-70DB-46AC-846C-28C43116D9C0}" dt="2021-03-26T11:26:53.864" v="4268"/>
          <ac:picMkLst>
            <pc:docMk/>
            <pc:sldMk cId="1518795803" sldId="2146845396"/>
            <ac:picMk id="3" creationId="{C5E85BAF-677C-4F7B-B8B2-9DADFF1AFD0F}"/>
          </ac:picMkLst>
        </pc:picChg>
        <pc:picChg chg="add del mod">
          <ac:chgData name="Gareth Allott" userId="d67bc1e7-5e6e-4540-bcf9-468a02f7a83e" providerId="ADAL" clId="{73C83929-70DB-46AC-846C-28C43116D9C0}" dt="2021-03-26T11:27:23.751" v="4285" actId="478"/>
          <ac:picMkLst>
            <pc:docMk/>
            <pc:sldMk cId="1518795803" sldId="2146845396"/>
            <ac:picMk id="4" creationId="{07F825F1-7DEF-4A8A-9EB2-F8EEB2297A7D}"/>
          </ac:picMkLst>
        </pc:picChg>
        <pc:picChg chg="add mod">
          <ac:chgData name="Gareth Allott" userId="d67bc1e7-5e6e-4540-bcf9-468a02f7a83e" providerId="ADAL" clId="{73C83929-70DB-46AC-846C-28C43116D9C0}" dt="2021-03-26T13:21:16.669" v="5320" actId="1038"/>
          <ac:picMkLst>
            <pc:docMk/>
            <pc:sldMk cId="1518795803" sldId="2146845396"/>
            <ac:picMk id="7" creationId="{E2A56776-2665-429F-A155-7A041814C4C4}"/>
          </ac:picMkLst>
        </pc:picChg>
        <pc:picChg chg="del">
          <ac:chgData name="Gareth Allott" userId="d67bc1e7-5e6e-4540-bcf9-468a02f7a83e" providerId="ADAL" clId="{73C83929-70DB-46AC-846C-28C43116D9C0}" dt="2021-03-26T11:25:44.865" v="4165" actId="478"/>
          <ac:picMkLst>
            <pc:docMk/>
            <pc:sldMk cId="1518795803" sldId="2146845396"/>
            <ac:picMk id="27" creationId="{C352F4D3-1981-4926-98A3-438DA2E1ABF0}"/>
          </ac:picMkLst>
        </pc:picChg>
        <pc:picChg chg="del">
          <ac:chgData name="Gareth Allott" userId="d67bc1e7-5e6e-4540-bcf9-468a02f7a83e" providerId="ADAL" clId="{73C83929-70DB-46AC-846C-28C43116D9C0}" dt="2021-03-26T11:25:44.865" v="4165" actId="478"/>
          <ac:picMkLst>
            <pc:docMk/>
            <pc:sldMk cId="1518795803" sldId="2146845396"/>
            <ac:picMk id="32" creationId="{FB9F9049-B62F-4E58-A7C7-AD2DA34AB794}"/>
          </ac:picMkLst>
        </pc:picChg>
        <pc:picChg chg="del">
          <ac:chgData name="Gareth Allott" userId="d67bc1e7-5e6e-4540-bcf9-468a02f7a83e" providerId="ADAL" clId="{73C83929-70DB-46AC-846C-28C43116D9C0}" dt="2021-03-26T11:25:44.865" v="4165" actId="478"/>
          <ac:picMkLst>
            <pc:docMk/>
            <pc:sldMk cId="1518795803" sldId="2146845396"/>
            <ac:picMk id="37" creationId="{84512670-9D8F-410C-BC26-BA20C06CFDD9}"/>
          </ac:picMkLst>
        </pc:picChg>
        <pc:picChg chg="del">
          <ac:chgData name="Gareth Allott" userId="d67bc1e7-5e6e-4540-bcf9-468a02f7a83e" providerId="ADAL" clId="{73C83929-70DB-46AC-846C-28C43116D9C0}" dt="2021-03-26T11:25:44.865" v="4165" actId="478"/>
          <ac:picMkLst>
            <pc:docMk/>
            <pc:sldMk cId="1518795803" sldId="2146845396"/>
            <ac:picMk id="81" creationId="{91ADE453-E1D1-4502-AD92-8640C962CD4C}"/>
          </ac:picMkLst>
        </pc:picChg>
        <pc:picChg chg="del">
          <ac:chgData name="Gareth Allott" userId="d67bc1e7-5e6e-4540-bcf9-468a02f7a83e" providerId="ADAL" clId="{73C83929-70DB-46AC-846C-28C43116D9C0}" dt="2021-03-26T11:25:44.865" v="4165" actId="478"/>
          <ac:picMkLst>
            <pc:docMk/>
            <pc:sldMk cId="1518795803" sldId="2146845396"/>
            <ac:picMk id="84" creationId="{53F8B173-723F-45D7-A793-6713BF7ADB36}"/>
          </ac:picMkLst>
        </pc:picChg>
        <pc:picChg chg="del">
          <ac:chgData name="Gareth Allott" userId="d67bc1e7-5e6e-4540-bcf9-468a02f7a83e" providerId="ADAL" clId="{73C83929-70DB-46AC-846C-28C43116D9C0}" dt="2021-03-26T11:25:44.865" v="4165" actId="478"/>
          <ac:picMkLst>
            <pc:docMk/>
            <pc:sldMk cId="1518795803" sldId="2146845396"/>
            <ac:picMk id="85" creationId="{48F90E7F-3396-45F9-ABD9-AD5144A1123F}"/>
          </ac:picMkLst>
        </pc:picChg>
        <pc:cxnChg chg="del">
          <ac:chgData name="Gareth Allott" userId="d67bc1e7-5e6e-4540-bcf9-468a02f7a83e" providerId="ADAL" clId="{73C83929-70DB-46AC-846C-28C43116D9C0}" dt="2021-03-26T11:25:44.865" v="4165" actId="478"/>
          <ac:cxnSpMkLst>
            <pc:docMk/>
            <pc:sldMk cId="1518795803" sldId="2146845396"/>
            <ac:cxnSpMk id="29" creationId="{3249B83B-84BB-4A3E-81BF-EC28611A31DA}"/>
          </ac:cxnSpMkLst>
        </pc:cxnChg>
        <pc:cxnChg chg="add del mod">
          <ac:chgData name="Gareth Allott" userId="d67bc1e7-5e6e-4540-bcf9-468a02f7a83e" providerId="ADAL" clId="{73C83929-70DB-46AC-846C-28C43116D9C0}" dt="2021-03-26T11:26:55.801" v="4270"/>
          <ac:cxnSpMkLst>
            <pc:docMk/>
            <pc:sldMk cId="1518795803" sldId="2146845396"/>
            <ac:cxnSpMk id="34" creationId="{9C5B0A0C-2EF1-4BD5-BC9E-57CC4AEA8D5F}"/>
          </ac:cxnSpMkLst>
        </pc:cxnChg>
        <pc:cxnChg chg="add del mod">
          <ac:chgData name="Gareth Allott" userId="d67bc1e7-5e6e-4540-bcf9-468a02f7a83e" providerId="ADAL" clId="{73C83929-70DB-46AC-846C-28C43116D9C0}" dt="2021-03-26T11:26:55.801" v="4270"/>
          <ac:cxnSpMkLst>
            <pc:docMk/>
            <pc:sldMk cId="1518795803" sldId="2146845396"/>
            <ac:cxnSpMk id="39" creationId="{832CD97F-9A30-471E-8D00-D6EEF866DB3F}"/>
          </ac:cxnSpMkLst>
        </pc:cxnChg>
        <pc:cxnChg chg="add del mod">
          <ac:chgData name="Gareth Allott" userId="d67bc1e7-5e6e-4540-bcf9-468a02f7a83e" providerId="ADAL" clId="{73C83929-70DB-46AC-846C-28C43116D9C0}" dt="2021-03-26T11:26:55.801" v="4270"/>
          <ac:cxnSpMkLst>
            <pc:docMk/>
            <pc:sldMk cId="1518795803" sldId="2146845396"/>
            <ac:cxnSpMk id="41" creationId="{7984F135-5ABF-4912-90EC-0A5A4B17C696}"/>
          </ac:cxnSpMkLst>
        </pc:cxnChg>
        <pc:cxnChg chg="add del mod">
          <ac:chgData name="Gareth Allott" userId="d67bc1e7-5e6e-4540-bcf9-468a02f7a83e" providerId="ADAL" clId="{73C83929-70DB-46AC-846C-28C43116D9C0}" dt="2021-03-26T11:26:55.801" v="4270"/>
          <ac:cxnSpMkLst>
            <pc:docMk/>
            <pc:sldMk cId="1518795803" sldId="2146845396"/>
            <ac:cxnSpMk id="46" creationId="{8BB38421-DB14-4607-A5D2-819F5788632C}"/>
          </ac:cxnSpMkLst>
        </pc:cxnChg>
        <pc:cxnChg chg="add del mod">
          <ac:chgData name="Gareth Allott" userId="d67bc1e7-5e6e-4540-bcf9-468a02f7a83e" providerId="ADAL" clId="{73C83929-70DB-46AC-846C-28C43116D9C0}" dt="2021-03-26T11:26:55.801" v="4270"/>
          <ac:cxnSpMkLst>
            <pc:docMk/>
            <pc:sldMk cId="1518795803" sldId="2146845396"/>
            <ac:cxnSpMk id="47" creationId="{1973204A-75DD-4101-9AD4-2CE46BE4EC60}"/>
          </ac:cxnSpMkLst>
        </pc:cxnChg>
        <pc:cxnChg chg="add del mod">
          <ac:chgData name="Gareth Allott" userId="d67bc1e7-5e6e-4540-bcf9-468a02f7a83e" providerId="ADAL" clId="{73C83929-70DB-46AC-846C-28C43116D9C0}" dt="2021-03-26T11:26:55.801" v="4270"/>
          <ac:cxnSpMkLst>
            <pc:docMk/>
            <pc:sldMk cId="1518795803" sldId="2146845396"/>
            <ac:cxnSpMk id="53" creationId="{C2F09B16-4F16-4A1E-AD92-F9AEF23A48E5}"/>
          </ac:cxnSpMkLst>
        </pc:cxnChg>
        <pc:cxnChg chg="add del mod">
          <ac:chgData name="Gareth Allott" userId="d67bc1e7-5e6e-4540-bcf9-468a02f7a83e" providerId="ADAL" clId="{73C83929-70DB-46AC-846C-28C43116D9C0}" dt="2021-03-26T11:26:55.801" v="4270"/>
          <ac:cxnSpMkLst>
            <pc:docMk/>
            <pc:sldMk cId="1518795803" sldId="2146845396"/>
            <ac:cxnSpMk id="55" creationId="{D0472531-868B-41A7-8E78-CE8461DAE7E0}"/>
          </ac:cxnSpMkLst>
        </pc:cxnChg>
        <pc:cxnChg chg="add del mod">
          <ac:chgData name="Gareth Allott" userId="d67bc1e7-5e6e-4540-bcf9-468a02f7a83e" providerId="ADAL" clId="{73C83929-70DB-46AC-846C-28C43116D9C0}" dt="2021-03-26T11:26:55.801" v="4270"/>
          <ac:cxnSpMkLst>
            <pc:docMk/>
            <pc:sldMk cId="1518795803" sldId="2146845396"/>
            <ac:cxnSpMk id="57" creationId="{D561D65D-8930-460E-8610-6EB52E278789}"/>
          </ac:cxnSpMkLst>
        </pc:cxnChg>
        <pc:cxnChg chg="add del mod">
          <ac:chgData name="Gareth Allott" userId="d67bc1e7-5e6e-4540-bcf9-468a02f7a83e" providerId="ADAL" clId="{73C83929-70DB-46AC-846C-28C43116D9C0}" dt="2021-03-26T11:26:55.801" v="4270"/>
          <ac:cxnSpMkLst>
            <pc:docMk/>
            <pc:sldMk cId="1518795803" sldId="2146845396"/>
            <ac:cxnSpMk id="66" creationId="{780858E0-6D61-4D69-993B-56ED52D936F1}"/>
          </ac:cxnSpMkLst>
        </pc:cxnChg>
        <pc:cxnChg chg="add del mod">
          <ac:chgData name="Gareth Allott" userId="d67bc1e7-5e6e-4540-bcf9-468a02f7a83e" providerId="ADAL" clId="{73C83929-70DB-46AC-846C-28C43116D9C0}" dt="2021-03-26T11:26:55.801" v="4270"/>
          <ac:cxnSpMkLst>
            <pc:docMk/>
            <pc:sldMk cId="1518795803" sldId="2146845396"/>
            <ac:cxnSpMk id="70" creationId="{4F8BF190-3F96-4473-AC67-259B2AEE1B9F}"/>
          </ac:cxnSpMkLst>
        </pc:cxnChg>
        <pc:cxnChg chg="del">
          <ac:chgData name="Gareth Allott" userId="d67bc1e7-5e6e-4540-bcf9-468a02f7a83e" providerId="ADAL" clId="{73C83929-70DB-46AC-846C-28C43116D9C0}" dt="2021-03-26T11:25:44.865" v="4165" actId="478"/>
          <ac:cxnSpMkLst>
            <pc:docMk/>
            <pc:sldMk cId="1518795803" sldId="2146845396"/>
            <ac:cxnSpMk id="79" creationId="{B19849EC-65FC-4E0D-AB76-A9C76CDFD381}"/>
          </ac:cxnSpMkLst>
        </pc:cxnChg>
        <pc:cxnChg chg="del mod">
          <ac:chgData name="Gareth Allott" userId="d67bc1e7-5e6e-4540-bcf9-468a02f7a83e" providerId="ADAL" clId="{73C83929-70DB-46AC-846C-28C43116D9C0}" dt="2021-03-26T11:25:44.865" v="4165" actId="478"/>
          <ac:cxnSpMkLst>
            <pc:docMk/>
            <pc:sldMk cId="1518795803" sldId="2146845396"/>
            <ac:cxnSpMk id="87" creationId="{EBA2F40A-FEC0-40FA-B19A-1236FA753E82}"/>
          </ac:cxnSpMkLst>
        </pc:cxnChg>
      </pc:sldChg>
      <pc:sldChg chg="addSp modSp add mod ord">
        <pc:chgData name="Gareth Allott" userId="d67bc1e7-5e6e-4540-bcf9-468a02f7a83e" providerId="ADAL" clId="{73C83929-70DB-46AC-846C-28C43116D9C0}" dt="2021-03-26T13:42:27.621" v="6187" actId="115"/>
        <pc:sldMkLst>
          <pc:docMk/>
          <pc:sldMk cId="1750221672" sldId="2146845397"/>
        </pc:sldMkLst>
        <pc:spChg chg="add mod">
          <ac:chgData name="Gareth Allott" userId="d67bc1e7-5e6e-4540-bcf9-468a02f7a83e" providerId="ADAL" clId="{73C83929-70DB-46AC-846C-28C43116D9C0}" dt="2021-03-26T13:42:27.621" v="6187" actId="115"/>
          <ac:spMkLst>
            <pc:docMk/>
            <pc:sldMk cId="1750221672" sldId="2146845397"/>
            <ac:spMk id="3" creationId="{01CE63DF-0E50-4ACF-A85F-946E0C249528}"/>
          </ac:spMkLst>
        </pc:spChg>
        <pc:spChg chg="mod">
          <ac:chgData name="Gareth Allott" userId="d67bc1e7-5e6e-4540-bcf9-468a02f7a83e" providerId="ADAL" clId="{73C83929-70DB-46AC-846C-28C43116D9C0}" dt="2021-03-26T11:32:42.859" v="4495" actId="20577"/>
          <ac:spMkLst>
            <pc:docMk/>
            <pc:sldMk cId="1750221672" sldId="2146845397"/>
            <ac:spMk id="5" creationId="{DE226D76-DFDC-493D-BC2A-95A0A748F140}"/>
          </ac:spMkLst>
        </pc:spChg>
        <pc:spChg chg="mod">
          <ac:chgData name="Gareth Allott" userId="d67bc1e7-5e6e-4540-bcf9-468a02f7a83e" providerId="ADAL" clId="{73C83929-70DB-46AC-846C-28C43116D9C0}" dt="2021-03-26T11:32:27.217" v="4486" actId="20577"/>
          <ac:spMkLst>
            <pc:docMk/>
            <pc:sldMk cId="1750221672" sldId="2146845397"/>
            <ac:spMk id="6" creationId="{ECE7C206-623B-4EC4-A2AB-386E2D02627B}"/>
          </ac:spMkLst>
        </pc:spChg>
        <pc:spChg chg="mod">
          <ac:chgData name="Gareth Allott" userId="d67bc1e7-5e6e-4540-bcf9-468a02f7a83e" providerId="ADAL" clId="{73C83929-70DB-46AC-846C-28C43116D9C0}" dt="2021-03-26T11:32:10.291" v="4477" actId="20577"/>
          <ac:spMkLst>
            <pc:docMk/>
            <pc:sldMk cId="1750221672" sldId="2146845397"/>
            <ac:spMk id="16" creationId="{8697FD9D-49DE-47A0-9A2D-09BEB025AACA}"/>
          </ac:spMkLst>
        </pc:spChg>
        <pc:spChg chg="mod">
          <ac:chgData name="Gareth Allott" userId="d67bc1e7-5e6e-4540-bcf9-468a02f7a83e" providerId="ADAL" clId="{73C83929-70DB-46AC-846C-28C43116D9C0}" dt="2021-03-26T11:28:22.626" v="4310" actId="207"/>
          <ac:spMkLst>
            <pc:docMk/>
            <pc:sldMk cId="1750221672" sldId="2146845397"/>
            <ac:spMk id="17" creationId="{9F07A1A9-AEB7-4965-861A-C08513ADA4D1}"/>
          </ac:spMkLst>
        </pc:spChg>
        <pc:spChg chg="add mod">
          <ac:chgData name="Gareth Allott" userId="d67bc1e7-5e6e-4540-bcf9-468a02f7a83e" providerId="ADAL" clId="{73C83929-70DB-46AC-846C-28C43116D9C0}" dt="2021-03-26T13:15:32.319" v="5310"/>
          <ac:spMkLst>
            <pc:docMk/>
            <pc:sldMk cId="1750221672" sldId="2146845397"/>
            <ac:spMk id="22" creationId="{3B7071F0-397D-423E-AA91-6F323926FCC0}"/>
          </ac:spMkLst>
        </pc:spChg>
        <pc:spChg chg="add mod">
          <ac:chgData name="Gareth Allott" userId="d67bc1e7-5e6e-4540-bcf9-468a02f7a83e" providerId="ADAL" clId="{73C83929-70DB-46AC-846C-28C43116D9C0}" dt="2021-03-26T13:15:32.319" v="5310"/>
          <ac:spMkLst>
            <pc:docMk/>
            <pc:sldMk cId="1750221672" sldId="2146845397"/>
            <ac:spMk id="23" creationId="{48AEE83A-D614-4501-839A-20D5A4C21CEB}"/>
          </ac:spMkLst>
        </pc:spChg>
        <pc:spChg chg="add mod">
          <ac:chgData name="Gareth Allott" userId="d67bc1e7-5e6e-4540-bcf9-468a02f7a83e" providerId="ADAL" clId="{73C83929-70DB-46AC-846C-28C43116D9C0}" dt="2021-03-26T13:15:32.319" v="5310"/>
          <ac:spMkLst>
            <pc:docMk/>
            <pc:sldMk cId="1750221672" sldId="2146845397"/>
            <ac:spMk id="24" creationId="{40571858-6C58-4AA8-B42E-61A9DACDBAB0}"/>
          </ac:spMkLst>
        </pc:spChg>
        <pc:spChg chg="add mod">
          <ac:chgData name="Gareth Allott" userId="d67bc1e7-5e6e-4540-bcf9-468a02f7a83e" providerId="ADAL" clId="{73C83929-70DB-46AC-846C-28C43116D9C0}" dt="2021-03-26T13:15:32.319" v="5310"/>
          <ac:spMkLst>
            <pc:docMk/>
            <pc:sldMk cId="1750221672" sldId="2146845397"/>
            <ac:spMk id="27" creationId="{6D4C932E-B4D4-4127-9A1D-7AF0F4892FFA}"/>
          </ac:spMkLst>
        </pc:spChg>
        <pc:spChg chg="add mod">
          <ac:chgData name="Gareth Allott" userId="d67bc1e7-5e6e-4540-bcf9-468a02f7a83e" providerId="ADAL" clId="{73C83929-70DB-46AC-846C-28C43116D9C0}" dt="2021-03-26T13:15:32.319" v="5310"/>
          <ac:spMkLst>
            <pc:docMk/>
            <pc:sldMk cId="1750221672" sldId="2146845397"/>
            <ac:spMk id="29" creationId="{EAAD80F0-C88E-4D90-83E3-AB9FE4A2DBFD}"/>
          </ac:spMkLst>
        </pc:spChg>
        <pc:spChg chg="add mod">
          <ac:chgData name="Gareth Allott" userId="d67bc1e7-5e6e-4540-bcf9-468a02f7a83e" providerId="ADAL" clId="{73C83929-70DB-46AC-846C-28C43116D9C0}" dt="2021-03-26T13:15:32.319" v="5310"/>
          <ac:spMkLst>
            <pc:docMk/>
            <pc:sldMk cId="1750221672" sldId="2146845397"/>
            <ac:spMk id="30" creationId="{3E098726-E0A4-4EB0-AE17-2F5C1BCB874F}"/>
          </ac:spMkLst>
        </pc:spChg>
        <pc:spChg chg="add mod">
          <ac:chgData name="Gareth Allott" userId="d67bc1e7-5e6e-4540-bcf9-468a02f7a83e" providerId="ADAL" clId="{73C83929-70DB-46AC-846C-28C43116D9C0}" dt="2021-03-26T13:15:32.319" v="5310"/>
          <ac:spMkLst>
            <pc:docMk/>
            <pc:sldMk cId="1750221672" sldId="2146845397"/>
            <ac:spMk id="32" creationId="{592BA317-F24A-4665-A898-CC648B2F244C}"/>
          </ac:spMkLst>
        </pc:spChg>
        <pc:spChg chg="add mod">
          <ac:chgData name="Gareth Allott" userId="d67bc1e7-5e6e-4540-bcf9-468a02f7a83e" providerId="ADAL" clId="{73C83929-70DB-46AC-846C-28C43116D9C0}" dt="2021-03-26T13:15:32.319" v="5310"/>
          <ac:spMkLst>
            <pc:docMk/>
            <pc:sldMk cId="1750221672" sldId="2146845397"/>
            <ac:spMk id="33" creationId="{70F5FAF5-A333-4337-B056-258779FEA70D}"/>
          </ac:spMkLst>
        </pc:spChg>
        <pc:spChg chg="add mod">
          <ac:chgData name="Gareth Allott" userId="d67bc1e7-5e6e-4540-bcf9-468a02f7a83e" providerId="ADAL" clId="{73C83929-70DB-46AC-846C-28C43116D9C0}" dt="2021-03-26T13:15:32.319" v="5310"/>
          <ac:spMkLst>
            <pc:docMk/>
            <pc:sldMk cId="1750221672" sldId="2146845397"/>
            <ac:spMk id="34" creationId="{1964EC5E-1773-483F-9FF3-CD437AFD5AD7}"/>
          </ac:spMkLst>
        </pc:spChg>
        <pc:spChg chg="add mod">
          <ac:chgData name="Gareth Allott" userId="d67bc1e7-5e6e-4540-bcf9-468a02f7a83e" providerId="ADAL" clId="{73C83929-70DB-46AC-846C-28C43116D9C0}" dt="2021-03-26T13:15:32.319" v="5310"/>
          <ac:spMkLst>
            <pc:docMk/>
            <pc:sldMk cId="1750221672" sldId="2146845397"/>
            <ac:spMk id="36" creationId="{9BC84EA9-C182-4924-8B4C-40339FA38445}"/>
          </ac:spMkLst>
        </pc:spChg>
        <pc:spChg chg="add mod">
          <ac:chgData name="Gareth Allott" userId="d67bc1e7-5e6e-4540-bcf9-468a02f7a83e" providerId="ADAL" clId="{73C83929-70DB-46AC-846C-28C43116D9C0}" dt="2021-03-26T13:15:32.319" v="5310"/>
          <ac:spMkLst>
            <pc:docMk/>
            <pc:sldMk cId="1750221672" sldId="2146845397"/>
            <ac:spMk id="38" creationId="{A02E75DC-7A65-422D-AC3B-AD6D64547F9F}"/>
          </ac:spMkLst>
        </pc:spChg>
        <pc:spChg chg="add mod">
          <ac:chgData name="Gareth Allott" userId="d67bc1e7-5e6e-4540-bcf9-468a02f7a83e" providerId="ADAL" clId="{73C83929-70DB-46AC-846C-28C43116D9C0}" dt="2021-03-26T13:15:32.319" v="5310"/>
          <ac:spMkLst>
            <pc:docMk/>
            <pc:sldMk cId="1750221672" sldId="2146845397"/>
            <ac:spMk id="39" creationId="{D501E205-4A6D-4D41-97D4-572DB8582857}"/>
          </ac:spMkLst>
        </pc:spChg>
        <pc:spChg chg="add mod">
          <ac:chgData name="Gareth Allott" userId="d67bc1e7-5e6e-4540-bcf9-468a02f7a83e" providerId="ADAL" clId="{73C83929-70DB-46AC-846C-28C43116D9C0}" dt="2021-03-26T13:20:54.803" v="5315" actId="1076"/>
          <ac:spMkLst>
            <pc:docMk/>
            <pc:sldMk cId="1750221672" sldId="2146845397"/>
            <ac:spMk id="46" creationId="{9A9DA4B9-4CEC-47F4-967B-C0B5A418702D}"/>
          </ac:spMkLst>
        </pc:spChg>
        <pc:picChg chg="mod">
          <ac:chgData name="Gareth Allott" userId="d67bc1e7-5e6e-4540-bcf9-468a02f7a83e" providerId="ADAL" clId="{73C83929-70DB-46AC-846C-28C43116D9C0}" dt="2021-03-26T11:29:42.136" v="4352" actId="1037"/>
          <ac:picMkLst>
            <pc:docMk/>
            <pc:sldMk cId="1750221672" sldId="2146845397"/>
            <ac:picMk id="15" creationId="{197CB2C7-0C9B-42E2-8F15-003B9D74C01E}"/>
          </ac:picMkLst>
        </pc:picChg>
        <pc:picChg chg="add mod">
          <ac:chgData name="Gareth Allott" userId="d67bc1e7-5e6e-4540-bcf9-468a02f7a83e" providerId="ADAL" clId="{73C83929-70DB-46AC-846C-28C43116D9C0}" dt="2021-03-26T11:29:42.136" v="4352" actId="1037"/>
          <ac:picMkLst>
            <pc:docMk/>
            <pc:sldMk cId="1750221672" sldId="2146845397"/>
            <ac:picMk id="18" creationId="{3C4068C3-4920-4AD6-88A6-14F9632F15E9}"/>
          </ac:picMkLst>
        </pc:picChg>
        <pc:picChg chg="add mod">
          <ac:chgData name="Gareth Allott" userId="d67bc1e7-5e6e-4540-bcf9-468a02f7a83e" providerId="ADAL" clId="{73C83929-70DB-46AC-846C-28C43116D9C0}" dt="2021-03-26T11:29:42.136" v="4352" actId="1037"/>
          <ac:picMkLst>
            <pc:docMk/>
            <pc:sldMk cId="1750221672" sldId="2146845397"/>
            <ac:picMk id="21" creationId="{D8444F35-47D9-4B85-AB47-52E1CB40AF24}"/>
          </ac:picMkLst>
        </pc:picChg>
        <pc:picChg chg="add mod">
          <ac:chgData name="Gareth Allott" userId="d67bc1e7-5e6e-4540-bcf9-468a02f7a83e" providerId="ADAL" clId="{73C83929-70DB-46AC-846C-28C43116D9C0}" dt="2021-03-26T13:15:32.319" v="5310"/>
          <ac:picMkLst>
            <pc:docMk/>
            <pc:sldMk cId="1750221672" sldId="2146845397"/>
            <ac:picMk id="25" creationId="{DE3BC18E-C376-4D3A-A7AD-9F05462915C7}"/>
          </ac:picMkLst>
        </pc:picChg>
        <pc:picChg chg="add mod">
          <ac:chgData name="Gareth Allott" userId="d67bc1e7-5e6e-4540-bcf9-468a02f7a83e" providerId="ADAL" clId="{73C83929-70DB-46AC-846C-28C43116D9C0}" dt="2021-03-26T13:15:32.319" v="5310"/>
          <ac:picMkLst>
            <pc:docMk/>
            <pc:sldMk cId="1750221672" sldId="2146845397"/>
            <ac:picMk id="28" creationId="{D57214CA-F5CB-444A-A276-8BFBDC5DF7C0}"/>
          </ac:picMkLst>
        </pc:picChg>
        <pc:picChg chg="add mod">
          <ac:chgData name="Gareth Allott" userId="d67bc1e7-5e6e-4540-bcf9-468a02f7a83e" providerId="ADAL" clId="{73C83929-70DB-46AC-846C-28C43116D9C0}" dt="2021-03-26T13:15:32.319" v="5310"/>
          <ac:picMkLst>
            <pc:docMk/>
            <pc:sldMk cId="1750221672" sldId="2146845397"/>
            <ac:picMk id="31" creationId="{968EBF90-1AEB-4F79-9F73-7F6BF3BAC21A}"/>
          </ac:picMkLst>
        </pc:picChg>
        <pc:picChg chg="add mod">
          <ac:chgData name="Gareth Allott" userId="d67bc1e7-5e6e-4540-bcf9-468a02f7a83e" providerId="ADAL" clId="{73C83929-70DB-46AC-846C-28C43116D9C0}" dt="2021-03-26T13:15:32.319" v="5310"/>
          <ac:picMkLst>
            <pc:docMk/>
            <pc:sldMk cId="1750221672" sldId="2146845397"/>
            <ac:picMk id="37" creationId="{666FDFBE-2B4D-4469-98FB-D3BDE550639C}"/>
          </ac:picMkLst>
        </pc:picChg>
        <pc:picChg chg="add mod">
          <ac:chgData name="Gareth Allott" userId="d67bc1e7-5e6e-4540-bcf9-468a02f7a83e" providerId="ADAL" clId="{73C83929-70DB-46AC-846C-28C43116D9C0}" dt="2021-03-26T13:15:32.319" v="5310"/>
          <ac:picMkLst>
            <pc:docMk/>
            <pc:sldMk cId="1750221672" sldId="2146845397"/>
            <ac:picMk id="43" creationId="{7A7F9D74-00B4-4E7D-AA00-11925ADB00B6}"/>
          </ac:picMkLst>
        </pc:picChg>
        <pc:picChg chg="add mod">
          <ac:chgData name="Gareth Allott" userId="d67bc1e7-5e6e-4540-bcf9-468a02f7a83e" providerId="ADAL" clId="{73C83929-70DB-46AC-846C-28C43116D9C0}" dt="2021-03-26T13:15:32.319" v="5310"/>
          <ac:picMkLst>
            <pc:docMk/>
            <pc:sldMk cId="1750221672" sldId="2146845397"/>
            <ac:picMk id="44" creationId="{8196FDBE-0208-4E5A-A63A-C0078900183F}"/>
          </ac:picMkLst>
        </pc:picChg>
        <pc:cxnChg chg="add mod">
          <ac:chgData name="Gareth Allott" userId="d67bc1e7-5e6e-4540-bcf9-468a02f7a83e" providerId="ADAL" clId="{73C83929-70DB-46AC-846C-28C43116D9C0}" dt="2021-03-26T13:15:32.319" v="5310"/>
          <ac:cxnSpMkLst>
            <pc:docMk/>
            <pc:sldMk cId="1750221672" sldId="2146845397"/>
            <ac:cxnSpMk id="26" creationId="{AABB3B33-A482-4D08-9088-ADF377302FA8}"/>
          </ac:cxnSpMkLst>
        </pc:cxnChg>
        <pc:cxnChg chg="add mod">
          <ac:chgData name="Gareth Allott" userId="d67bc1e7-5e6e-4540-bcf9-468a02f7a83e" providerId="ADAL" clId="{73C83929-70DB-46AC-846C-28C43116D9C0}" dt="2021-03-26T13:15:32.319" v="5310"/>
          <ac:cxnSpMkLst>
            <pc:docMk/>
            <pc:sldMk cId="1750221672" sldId="2146845397"/>
            <ac:cxnSpMk id="35" creationId="{19D3476E-522F-4439-94C5-57781AF2745D}"/>
          </ac:cxnSpMkLst>
        </pc:cxnChg>
        <pc:cxnChg chg="add mod">
          <ac:chgData name="Gareth Allott" userId="d67bc1e7-5e6e-4540-bcf9-468a02f7a83e" providerId="ADAL" clId="{73C83929-70DB-46AC-846C-28C43116D9C0}" dt="2021-03-26T13:15:32.319" v="5310"/>
          <ac:cxnSpMkLst>
            <pc:docMk/>
            <pc:sldMk cId="1750221672" sldId="2146845397"/>
            <ac:cxnSpMk id="45" creationId="{3BE40ACE-58BD-4C34-A8A4-7BD20329B7BC}"/>
          </ac:cxnSpMkLst>
        </pc:cxnChg>
      </pc:sldChg>
      <pc:sldChg chg="del">
        <pc:chgData name="Gareth Allott" userId="d67bc1e7-5e6e-4540-bcf9-468a02f7a83e" providerId="ADAL" clId="{73C83929-70DB-46AC-846C-28C43116D9C0}" dt="2021-03-26T11:30:58.849" v="4357"/>
        <pc:sldMkLst>
          <pc:docMk/>
          <pc:sldMk cId="2583167" sldId="2146845398"/>
        </pc:sldMkLst>
      </pc:sldChg>
      <pc:sldChg chg="new del">
        <pc:chgData name="Gareth Allott" userId="d67bc1e7-5e6e-4540-bcf9-468a02f7a83e" providerId="ADAL" clId="{73C83929-70DB-46AC-846C-28C43116D9C0}" dt="2021-03-26T11:30:48.746" v="4355" actId="47"/>
        <pc:sldMkLst>
          <pc:docMk/>
          <pc:sldMk cId="3858849136" sldId="2146845398"/>
        </pc:sldMkLst>
      </pc:sldChg>
      <pc:sldChg chg="addSp delSp modSp mod">
        <pc:chgData name="Gareth Allott" userId="d67bc1e7-5e6e-4540-bcf9-468a02f7a83e" providerId="ADAL" clId="{73C83929-70DB-46AC-846C-28C43116D9C0}" dt="2021-03-26T11:31:36.987" v="4468" actId="20577"/>
        <pc:sldMkLst>
          <pc:docMk/>
          <pc:sldMk cId="4244871606" sldId="2146845398"/>
        </pc:sldMkLst>
        <pc:spChg chg="mod">
          <ac:chgData name="Gareth Allott" userId="d67bc1e7-5e6e-4540-bcf9-468a02f7a83e" providerId="ADAL" clId="{73C83929-70DB-46AC-846C-28C43116D9C0}" dt="2021-03-26T11:31:36.987" v="4468" actId="20577"/>
          <ac:spMkLst>
            <pc:docMk/>
            <pc:sldMk cId="4244871606" sldId="2146845398"/>
            <ac:spMk id="2" creationId="{5D868E05-EFCE-488C-BB5F-FB19C6753A38}"/>
          </ac:spMkLst>
        </pc:spChg>
        <pc:spChg chg="del">
          <ac:chgData name="Gareth Allott" userId="d67bc1e7-5e6e-4540-bcf9-468a02f7a83e" providerId="ADAL" clId="{73C83929-70DB-46AC-846C-28C43116D9C0}" dt="2021-03-26T11:31:05.948" v="4359" actId="478"/>
          <ac:spMkLst>
            <pc:docMk/>
            <pc:sldMk cId="4244871606" sldId="2146845398"/>
            <ac:spMk id="3" creationId="{C5BDECBE-CF40-48A2-8DFF-A9343DD53BD9}"/>
          </ac:spMkLst>
        </pc:spChg>
        <pc:spChg chg="add del mod">
          <ac:chgData name="Gareth Allott" userId="d67bc1e7-5e6e-4540-bcf9-468a02f7a83e" providerId="ADAL" clId="{73C83929-70DB-46AC-846C-28C43116D9C0}" dt="2021-03-26T11:31:07.848" v="4360" actId="478"/>
          <ac:spMkLst>
            <pc:docMk/>
            <pc:sldMk cId="4244871606" sldId="2146845398"/>
            <ac:spMk id="5" creationId="{739DA1D0-52AC-4D1E-AB4D-2DB4CEE01827}"/>
          </ac:spMkLst>
        </pc:spChg>
        <pc:spChg chg="del">
          <ac:chgData name="Gareth Allott" userId="d67bc1e7-5e6e-4540-bcf9-468a02f7a83e" providerId="ADAL" clId="{73C83929-70DB-46AC-846C-28C43116D9C0}" dt="2021-03-26T11:31:04.009" v="4358" actId="478"/>
          <ac:spMkLst>
            <pc:docMk/>
            <pc:sldMk cId="4244871606" sldId="2146845398"/>
            <ac:spMk id="15" creationId="{514E8FF3-0B84-4ABE-B050-06F2FF56D991}"/>
          </ac:spMkLst>
        </pc:spChg>
      </pc:sldChg>
      <pc:sldChg chg="add del">
        <pc:chgData name="Gareth Allott" userId="d67bc1e7-5e6e-4540-bcf9-468a02f7a83e" providerId="ADAL" clId="{73C83929-70DB-46AC-846C-28C43116D9C0}" dt="2021-03-26T11:30:52.534" v="4356" actId="47"/>
        <pc:sldMkLst>
          <pc:docMk/>
          <pc:sldMk cId="366535873" sldId="2146845399"/>
        </pc:sldMkLst>
      </pc:sldChg>
      <pc:sldChg chg="addSp modSp add mod">
        <pc:chgData name="Gareth Allott" userId="d67bc1e7-5e6e-4540-bcf9-468a02f7a83e" providerId="ADAL" clId="{73C83929-70DB-46AC-846C-28C43116D9C0}" dt="2021-03-26T11:35:38.813" v="4906" actId="20577"/>
        <pc:sldMkLst>
          <pc:docMk/>
          <pc:sldMk cId="1682899834" sldId="2146845399"/>
        </pc:sldMkLst>
        <pc:spChg chg="mod">
          <ac:chgData name="Gareth Allott" userId="d67bc1e7-5e6e-4540-bcf9-468a02f7a83e" providerId="ADAL" clId="{73C83929-70DB-46AC-846C-28C43116D9C0}" dt="2021-03-26T11:33:46.274" v="4537" actId="20577"/>
          <ac:spMkLst>
            <pc:docMk/>
            <pc:sldMk cId="1682899834" sldId="2146845399"/>
            <ac:spMk id="2" creationId="{4798D180-47DE-4017-B64E-A97724AE03E2}"/>
          </ac:spMkLst>
        </pc:spChg>
        <pc:spChg chg="mod">
          <ac:chgData name="Gareth Allott" userId="d67bc1e7-5e6e-4540-bcf9-468a02f7a83e" providerId="ADAL" clId="{73C83929-70DB-46AC-846C-28C43116D9C0}" dt="2021-03-26T11:34:20.033" v="4728" actId="20577"/>
          <ac:spMkLst>
            <pc:docMk/>
            <pc:sldMk cId="1682899834" sldId="2146845399"/>
            <ac:spMk id="5" creationId="{F0003C2E-EEB6-4539-8368-C5746ABF8A39}"/>
          </ac:spMkLst>
        </pc:spChg>
        <pc:spChg chg="mod">
          <ac:chgData name="Gareth Allott" userId="d67bc1e7-5e6e-4540-bcf9-468a02f7a83e" providerId="ADAL" clId="{73C83929-70DB-46AC-846C-28C43116D9C0}" dt="2021-03-26T11:35:38.813" v="4906" actId="20577"/>
          <ac:spMkLst>
            <pc:docMk/>
            <pc:sldMk cId="1682899834" sldId="2146845399"/>
            <ac:spMk id="6" creationId="{53B308F3-1948-4AFB-A493-9A6F9776EBAC}"/>
          </ac:spMkLst>
        </pc:spChg>
        <pc:picChg chg="add mod">
          <ac:chgData name="Gareth Allott" userId="d67bc1e7-5e6e-4540-bcf9-468a02f7a83e" providerId="ADAL" clId="{73C83929-70DB-46AC-846C-28C43116D9C0}" dt="2021-03-26T11:34:52.069" v="4741" actId="14100"/>
          <ac:picMkLst>
            <pc:docMk/>
            <pc:sldMk cId="1682899834" sldId="2146845399"/>
            <ac:picMk id="7" creationId="{9C64B33A-C94D-4C17-BF64-E5515A3DF335}"/>
          </ac:picMkLst>
        </pc:picChg>
      </pc:sldChg>
      <pc:sldChg chg="addSp delSp modSp new del mod modClrScheme chgLayout">
        <pc:chgData name="Gareth Allott" userId="d67bc1e7-5e6e-4540-bcf9-468a02f7a83e" providerId="ADAL" clId="{73C83929-70DB-46AC-846C-28C43116D9C0}" dt="2021-03-26T16:13:49.162" v="6195" actId="47"/>
        <pc:sldMkLst>
          <pc:docMk/>
          <pc:sldMk cId="1970393180" sldId="2146845400"/>
        </pc:sldMkLst>
        <pc:spChg chg="del mod ord">
          <ac:chgData name="Gareth Allott" userId="d67bc1e7-5e6e-4540-bcf9-468a02f7a83e" providerId="ADAL" clId="{73C83929-70DB-46AC-846C-28C43116D9C0}" dt="2021-03-26T11:36:12.293" v="4908" actId="700"/>
          <ac:spMkLst>
            <pc:docMk/>
            <pc:sldMk cId="1970393180" sldId="2146845400"/>
            <ac:spMk id="2" creationId="{7D4DF10E-1F60-453F-806A-41842FE19619}"/>
          </ac:spMkLst>
        </pc:spChg>
        <pc:spChg chg="del mod ord">
          <ac:chgData name="Gareth Allott" userId="d67bc1e7-5e6e-4540-bcf9-468a02f7a83e" providerId="ADAL" clId="{73C83929-70DB-46AC-846C-28C43116D9C0}" dt="2021-03-26T11:36:12.293" v="4908" actId="700"/>
          <ac:spMkLst>
            <pc:docMk/>
            <pc:sldMk cId="1970393180" sldId="2146845400"/>
            <ac:spMk id="3" creationId="{F85788D5-AD50-4006-94EE-4F241688230C}"/>
          </ac:spMkLst>
        </pc:spChg>
        <pc:spChg chg="add mod ord">
          <ac:chgData name="Gareth Allott" userId="d67bc1e7-5e6e-4540-bcf9-468a02f7a83e" providerId="ADAL" clId="{73C83929-70DB-46AC-846C-28C43116D9C0}" dt="2021-03-26T11:36:19.627" v="4940" actId="20577"/>
          <ac:spMkLst>
            <pc:docMk/>
            <pc:sldMk cId="1970393180" sldId="2146845400"/>
            <ac:spMk id="4" creationId="{DA8762AD-0FBE-49B3-AA82-F09DDA583B53}"/>
          </ac:spMkLst>
        </pc:spChg>
        <pc:spChg chg="add mod ord">
          <ac:chgData name="Gareth Allott" userId="d67bc1e7-5e6e-4540-bcf9-468a02f7a83e" providerId="ADAL" clId="{73C83929-70DB-46AC-846C-28C43116D9C0}" dt="2021-03-26T11:36:23.509" v="4946" actId="5793"/>
          <ac:spMkLst>
            <pc:docMk/>
            <pc:sldMk cId="1970393180" sldId="2146845400"/>
            <ac:spMk id="5" creationId="{B5706970-AC7D-435F-BFBD-FD1D06776B57}"/>
          </ac:spMkLst>
        </pc:spChg>
      </pc:sldChg>
      <pc:sldChg chg="delSp modSp add mod">
        <pc:chgData name="Gareth Allott" userId="d67bc1e7-5e6e-4540-bcf9-468a02f7a83e" providerId="ADAL" clId="{73C83929-70DB-46AC-846C-28C43116D9C0}" dt="2021-03-26T16:13:39.389" v="6194" actId="478"/>
        <pc:sldMkLst>
          <pc:docMk/>
          <pc:sldMk cId="11928157" sldId="2146845401"/>
        </pc:sldMkLst>
        <pc:spChg chg="del">
          <ac:chgData name="Gareth Allott" userId="d67bc1e7-5e6e-4540-bcf9-468a02f7a83e" providerId="ADAL" clId="{73C83929-70DB-46AC-846C-28C43116D9C0}" dt="2021-03-26T16:13:39.389" v="6194" actId="478"/>
          <ac:spMkLst>
            <pc:docMk/>
            <pc:sldMk cId="11928157" sldId="2146845401"/>
            <ac:spMk id="3" creationId="{01CE63DF-0E50-4ACF-A85F-946E0C249528}"/>
          </ac:spMkLst>
        </pc:spChg>
        <pc:spChg chg="del">
          <ac:chgData name="Gareth Allott" userId="d67bc1e7-5e6e-4540-bcf9-468a02f7a83e" providerId="ADAL" clId="{73C83929-70DB-46AC-846C-28C43116D9C0}" dt="2021-03-26T16:12:56.111" v="6193" actId="478"/>
          <ac:spMkLst>
            <pc:docMk/>
            <pc:sldMk cId="11928157" sldId="2146845401"/>
            <ac:spMk id="22" creationId="{3B7071F0-397D-423E-AA91-6F323926FCC0}"/>
          </ac:spMkLst>
        </pc:spChg>
        <pc:spChg chg="del">
          <ac:chgData name="Gareth Allott" userId="d67bc1e7-5e6e-4540-bcf9-468a02f7a83e" providerId="ADAL" clId="{73C83929-70DB-46AC-846C-28C43116D9C0}" dt="2021-03-26T16:12:56.111" v="6193" actId="478"/>
          <ac:spMkLst>
            <pc:docMk/>
            <pc:sldMk cId="11928157" sldId="2146845401"/>
            <ac:spMk id="23" creationId="{48AEE83A-D614-4501-839A-20D5A4C21CEB}"/>
          </ac:spMkLst>
        </pc:spChg>
        <pc:spChg chg="del">
          <ac:chgData name="Gareth Allott" userId="d67bc1e7-5e6e-4540-bcf9-468a02f7a83e" providerId="ADAL" clId="{73C83929-70DB-46AC-846C-28C43116D9C0}" dt="2021-03-26T16:12:56.111" v="6193" actId="478"/>
          <ac:spMkLst>
            <pc:docMk/>
            <pc:sldMk cId="11928157" sldId="2146845401"/>
            <ac:spMk id="24" creationId="{40571858-6C58-4AA8-B42E-61A9DACDBAB0}"/>
          </ac:spMkLst>
        </pc:spChg>
        <pc:spChg chg="del">
          <ac:chgData name="Gareth Allott" userId="d67bc1e7-5e6e-4540-bcf9-468a02f7a83e" providerId="ADAL" clId="{73C83929-70DB-46AC-846C-28C43116D9C0}" dt="2021-03-26T16:12:56.111" v="6193" actId="478"/>
          <ac:spMkLst>
            <pc:docMk/>
            <pc:sldMk cId="11928157" sldId="2146845401"/>
            <ac:spMk id="27" creationId="{6D4C932E-B4D4-4127-9A1D-7AF0F4892FFA}"/>
          </ac:spMkLst>
        </pc:spChg>
        <pc:spChg chg="del">
          <ac:chgData name="Gareth Allott" userId="d67bc1e7-5e6e-4540-bcf9-468a02f7a83e" providerId="ADAL" clId="{73C83929-70DB-46AC-846C-28C43116D9C0}" dt="2021-03-26T16:12:56.111" v="6193" actId="478"/>
          <ac:spMkLst>
            <pc:docMk/>
            <pc:sldMk cId="11928157" sldId="2146845401"/>
            <ac:spMk id="29" creationId="{EAAD80F0-C88E-4D90-83E3-AB9FE4A2DBFD}"/>
          </ac:spMkLst>
        </pc:spChg>
        <pc:spChg chg="del">
          <ac:chgData name="Gareth Allott" userId="d67bc1e7-5e6e-4540-bcf9-468a02f7a83e" providerId="ADAL" clId="{73C83929-70DB-46AC-846C-28C43116D9C0}" dt="2021-03-26T16:12:56.111" v="6193" actId="478"/>
          <ac:spMkLst>
            <pc:docMk/>
            <pc:sldMk cId="11928157" sldId="2146845401"/>
            <ac:spMk id="30" creationId="{3E098726-E0A4-4EB0-AE17-2F5C1BCB874F}"/>
          </ac:spMkLst>
        </pc:spChg>
        <pc:spChg chg="del">
          <ac:chgData name="Gareth Allott" userId="d67bc1e7-5e6e-4540-bcf9-468a02f7a83e" providerId="ADAL" clId="{73C83929-70DB-46AC-846C-28C43116D9C0}" dt="2021-03-26T16:12:56.111" v="6193" actId="478"/>
          <ac:spMkLst>
            <pc:docMk/>
            <pc:sldMk cId="11928157" sldId="2146845401"/>
            <ac:spMk id="32" creationId="{592BA317-F24A-4665-A898-CC648B2F244C}"/>
          </ac:spMkLst>
        </pc:spChg>
        <pc:spChg chg="del">
          <ac:chgData name="Gareth Allott" userId="d67bc1e7-5e6e-4540-bcf9-468a02f7a83e" providerId="ADAL" clId="{73C83929-70DB-46AC-846C-28C43116D9C0}" dt="2021-03-26T16:12:56.111" v="6193" actId="478"/>
          <ac:spMkLst>
            <pc:docMk/>
            <pc:sldMk cId="11928157" sldId="2146845401"/>
            <ac:spMk id="33" creationId="{70F5FAF5-A333-4337-B056-258779FEA70D}"/>
          </ac:spMkLst>
        </pc:spChg>
        <pc:spChg chg="del">
          <ac:chgData name="Gareth Allott" userId="d67bc1e7-5e6e-4540-bcf9-468a02f7a83e" providerId="ADAL" clId="{73C83929-70DB-46AC-846C-28C43116D9C0}" dt="2021-03-26T16:12:56.111" v="6193" actId="478"/>
          <ac:spMkLst>
            <pc:docMk/>
            <pc:sldMk cId="11928157" sldId="2146845401"/>
            <ac:spMk id="34" creationId="{1964EC5E-1773-483F-9FF3-CD437AFD5AD7}"/>
          </ac:spMkLst>
        </pc:spChg>
        <pc:spChg chg="del">
          <ac:chgData name="Gareth Allott" userId="d67bc1e7-5e6e-4540-bcf9-468a02f7a83e" providerId="ADAL" clId="{73C83929-70DB-46AC-846C-28C43116D9C0}" dt="2021-03-26T16:12:56.111" v="6193" actId="478"/>
          <ac:spMkLst>
            <pc:docMk/>
            <pc:sldMk cId="11928157" sldId="2146845401"/>
            <ac:spMk id="36" creationId="{9BC84EA9-C182-4924-8B4C-40339FA38445}"/>
          </ac:spMkLst>
        </pc:spChg>
        <pc:spChg chg="del">
          <ac:chgData name="Gareth Allott" userId="d67bc1e7-5e6e-4540-bcf9-468a02f7a83e" providerId="ADAL" clId="{73C83929-70DB-46AC-846C-28C43116D9C0}" dt="2021-03-26T16:12:56.111" v="6193" actId="478"/>
          <ac:spMkLst>
            <pc:docMk/>
            <pc:sldMk cId="11928157" sldId="2146845401"/>
            <ac:spMk id="38" creationId="{A02E75DC-7A65-422D-AC3B-AD6D64547F9F}"/>
          </ac:spMkLst>
        </pc:spChg>
        <pc:spChg chg="del">
          <ac:chgData name="Gareth Allott" userId="d67bc1e7-5e6e-4540-bcf9-468a02f7a83e" providerId="ADAL" clId="{73C83929-70DB-46AC-846C-28C43116D9C0}" dt="2021-03-26T16:12:56.111" v="6193" actId="478"/>
          <ac:spMkLst>
            <pc:docMk/>
            <pc:sldMk cId="11928157" sldId="2146845401"/>
            <ac:spMk id="39" creationId="{D501E205-4A6D-4D41-97D4-572DB8582857}"/>
          </ac:spMkLst>
        </pc:spChg>
        <pc:spChg chg="del">
          <ac:chgData name="Gareth Allott" userId="d67bc1e7-5e6e-4540-bcf9-468a02f7a83e" providerId="ADAL" clId="{73C83929-70DB-46AC-846C-28C43116D9C0}" dt="2021-03-26T16:12:56.111" v="6193" actId="478"/>
          <ac:spMkLst>
            <pc:docMk/>
            <pc:sldMk cId="11928157" sldId="2146845401"/>
            <ac:spMk id="46" creationId="{9A9DA4B9-4CEC-47F4-967B-C0B5A418702D}"/>
          </ac:spMkLst>
        </pc:spChg>
        <pc:picChg chg="del">
          <ac:chgData name="Gareth Allott" userId="d67bc1e7-5e6e-4540-bcf9-468a02f7a83e" providerId="ADAL" clId="{73C83929-70DB-46AC-846C-28C43116D9C0}" dt="2021-03-26T16:12:56.111" v="6193" actId="478"/>
          <ac:picMkLst>
            <pc:docMk/>
            <pc:sldMk cId="11928157" sldId="2146845401"/>
            <ac:picMk id="25" creationId="{DE3BC18E-C376-4D3A-A7AD-9F05462915C7}"/>
          </ac:picMkLst>
        </pc:picChg>
        <pc:picChg chg="del">
          <ac:chgData name="Gareth Allott" userId="d67bc1e7-5e6e-4540-bcf9-468a02f7a83e" providerId="ADAL" clId="{73C83929-70DB-46AC-846C-28C43116D9C0}" dt="2021-03-26T16:12:56.111" v="6193" actId="478"/>
          <ac:picMkLst>
            <pc:docMk/>
            <pc:sldMk cId="11928157" sldId="2146845401"/>
            <ac:picMk id="28" creationId="{D57214CA-F5CB-444A-A276-8BFBDC5DF7C0}"/>
          </ac:picMkLst>
        </pc:picChg>
        <pc:picChg chg="del">
          <ac:chgData name="Gareth Allott" userId="d67bc1e7-5e6e-4540-bcf9-468a02f7a83e" providerId="ADAL" clId="{73C83929-70DB-46AC-846C-28C43116D9C0}" dt="2021-03-26T16:12:56.111" v="6193" actId="478"/>
          <ac:picMkLst>
            <pc:docMk/>
            <pc:sldMk cId="11928157" sldId="2146845401"/>
            <ac:picMk id="31" creationId="{968EBF90-1AEB-4F79-9F73-7F6BF3BAC21A}"/>
          </ac:picMkLst>
        </pc:picChg>
        <pc:picChg chg="del">
          <ac:chgData name="Gareth Allott" userId="d67bc1e7-5e6e-4540-bcf9-468a02f7a83e" providerId="ADAL" clId="{73C83929-70DB-46AC-846C-28C43116D9C0}" dt="2021-03-26T16:12:56.111" v="6193" actId="478"/>
          <ac:picMkLst>
            <pc:docMk/>
            <pc:sldMk cId="11928157" sldId="2146845401"/>
            <ac:picMk id="37" creationId="{666FDFBE-2B4D-4469-98FB-D3BDE550639C}"/>
          </ac:picMkLst>
        </pc:picChg>
        <pc:picChg chg="del">
          <ac:chgData name="Gareth Allott" userId="d67bc1e7-5e6e-4540-bcf9-468a02f7a83e" providerId="ADAL" clId="{73C83929-70DB-46AC-846C-28C43116D9C0}" dt="2021-03-26T16:12:56.111" v="6193" actId="478"/>
          <ac:picMkLst>
            <pc:docMk/>
            <pc:sldMk cId="11928157" sldId="2146845401"/>
            <ac:picMk id="43" creationId="{7A7F9D74-00B4-4E7D-AA00-11925ADB00B6}"/>
          </ac:picMkLst>
        </pc:picChg>
        <pc:picChg chg="del">
          <ac:chgData name="Gareth Allott" userId="d67bc1e7-5e6e-4540-bcf9-468a02f7a83e" providerId="ADAL" clId="{73C83929-70DB-46AC-846C-28C43116D9C0}" dt="2021-03-26T16:12:56.111" v="6193" actId="478"/>
          <ac:picMkLst>
            <pc:docMk/>
            <pc:sldMk cId="11928157" sldId="2146845401"/>
            <ac:picMk id="44" creationId="{8196FDBE-0208-4E5A-A63A-C0078900183F}"/>
          </ac:picMkLst>
        </pc:picChg>
        <pc:cxnChg chg="del">
          <ac:chgData name="Gareth Allott" userId="d67bc1e7-5e6e-4540-bcf9-468a02f7a83e" providerId="ADAL" clId="{73C83929-70DB-46AC-846C-28C43116D9C0}" dt="2021-03-26T16:12:56.111" v="6193" actId="478"/>
          <ac:cxnSpMkLst>
            <pc:docMk/>
            <pc:sldMk cId="11928157" sldId="2146845401"/>
            <ac:cxnSpMk id="26" creationId="{AABB3B33-A482-4D08-9088-ADF377302FA8}"/>
          </ac:cxnSpMkLst>
        </pc:cxnChg>
        <pc:cxnChg chg="del">
          <ac:chgData name="Gareth Allott" userId="d67bc1e7-5e6e-4540-bcf9-468a02f7a83e" providerId="ADAL" clId="{73C83929-70DB-46AC-846C-28C43116D9C0}" dt="2021-03-26T16:12:56.111" v="6193" actId="478"/>
          <ac:cxnSpMkLst>
            <pc:docMk/>
            <pc:sldMk cId="11928157" sldId="2146845401"/>
            <ac:cxnSpMk id="35" creationId="{19D3476E-522F-4439-94C5-57781AF2745D}"/>
          </ac:cxnSpMkLst>
        </pc:cxnChg>
        <pc:cxnChg chg="del mod">
          <ac:chgData name="Gareth Allott" userId="d67bc1e7-5e6e-4540-bcf9-468a02f7a83e" providerId="ADAL" clId="{73C83929-70DB-46AC-846C-28C43116D9C0}" dt="2021-03-26T16:12:56.111" v="6193" actId="478"/>
          <ac:cxnSpMkLst>
            <pc:docMk/>
            <pc:sldMk cId="11928157" sldId="2146845401"/>
            <ac:cxnSpMk id="45" creationId="{3BE40ACE-58BD-4C34-A8A4-7BD20329B7BC}"/>
          </ac:cxnSpMkLst>
        </pc:cxnChg>
      </pc:sldChg>
      <pc:sldChg chg="add del">
        <pc:chgData name="Gareth Allott" userId="d67bc1e7-5e6e-4540-bcf9-468a02f7a83e" providerId="ADAL" clId="{73C83929-70DB-46AC-846C-28C43116D9C0}" dt="2021-03-26T16:12:50.410" v="6191"/>
        <pc:sldMkLst>
          <pc:docMk/>
          <pc:sldMk cId="883111667" sldId="2146845401"/>
        </pc:sldMkLst>
      </pc:sldChg>
      <pc:sldMasterChg chg="delSp mod delSldLayout modSldLayout">
        <pc:chgData name="Gareth Allott" userId="d67bc1e7-5e6e-4540-bcf9-468a02f7a83e" providerId="ADAL" clId="{73C83929-70DB-46AC-846C-28C43116D9C0}" dt="2021-03-25T15:45:56.118" v="1848" actId="47"/>
        <pc:sldMasterMkLst>
          <pc:docMk/>
          <pc:sldMasterMk cId="1387843936" sldId="2147483674"/>
        </pc:sldMasterMkLst>
        <pc:spChg chg="del">
          <ac:chgData name="Gareth Allott" userId="d67bc1e7-5e6e-4540-bcf9-468a02f7a83e" providerId="ADAL" clId="{73C83929-70DB-46AC-846C-28C43116D9C0}" dt="2021-03-25T14:36:50.471" v="15" actId="478"/>
          <ac:spMkLst>
            <pc:docMk/>
            <pc:sldMasterMk cId="1387843936" sldId="2147483674"/>
            <ac:spMk id="3" creationId="{FF5AB9D8-6642-5B49-89E9-A48CDE62CA56}"/>
          </ac:spMkLst>
        </pc:spChg>
        <pc:spChg chg="del">
          <ac:chgData name="Gareth Allott" userId="d67bc1e7-5e6e-4540-bcf9-468a02f7a83e" providerId="ADAL" clId="{73C83929-70DB-46AC-846C-28C43116D9C0}" dt="2021-03-25T14:36:50.471" v="15" actId="478"/>
          <ac:spMkLst>
            <pc:docMk/>
            <pc:sldMasterMk cId="1387843936" sldId="2147483674"/>
            <ac:spMk id="10" creationId="{A597B5E6-ED14-E54E-A6A5-86660342C04C}"/>
          </ac:spMkLst>
        </pc:spChg>
        <pc:spChg chg="del">
          <ac:chgData name="Gareth Allott" userId="d67bc1e7-5e6e-4540-bcf9-468a02f7a83e" providerId="ADAL" clId="{73C83929-70DB-46AC-846C-28C43116D9C0}" dt="2021-03-25T14:36:50.471" v="15" actId="478"/>
          <ac:spMkLst>
            <pc:docMk/>
            <pc:sldMasterMk cId="1387843936" sldId="2147483674"/>
            <ac:spMk id="15" creationId="{00000000-0000-0000-0000-000000000000}"/>
          </ac:spMkLst>
        </pc:spChg>
        <pc:spChg chg="del">
          <ac:chgData name="Gareth Allott" userId="d67bc1e7-5e6e-4540-bcf9-468a02f7a83e" providerId="ADAL" clId="{73C83929-70DB-46AC-846C-28C43116D9C0}" dt="2021-03-25T14:36:50.471" v="15" actId="478"/>
          <ac:spMkLst>
            <pc:docMk/>
            <pc:sldMasterMk cId="1387843936" sldId="2147483674"/>
            <ac:spMk id="1029" creationId="{00000000-0000-0000-0000-000000000000}"/>
          </ac:spMkLst>
        </pc:spChg>
        <pc:picChg chg="del">
          <ac:chgData name="Gareth Allott" userId="d67bc1e7-5e6e-4540-bcf9-468a02f7a83e" providerId="ADAL" clId="{73C83929-70DB-46AC-846C-28C43116D9C0}" dt="2021-03-25T14:36:50.471" v="15" actId="478"/>
          <ac:picMkLst>
            <pc:docMk/>
            <pc:sldMasterMk cId="1387843936" sldId="2147483674"/>
            <ac:picMk id="22" creationId="{00000000-0000-0000-0000-000000000000}"/>
          </ac:picMkLst>
        </pc:picChg>
        <pc:picChg chg="del">
          <ac:chgData name="Gareth Allott" userId="d67bc1e7-5e6e-4540-bcf9-468a02f7a83e" providerId="ADAL" clId="{73C83929-70DB-46AC-846C-28C43116D9C0}" dt="2021-03-25T14:36:50.471" v="15" actId="478"/>
          <ac:picMkLst>
            <pc:docMk/>
            <pc:sldMasterMk cId="1387843936" sldId="2147483674"/>
            <ac:picMk id="24" creationId="{00000000-0000-0000-0000-000000000000}"/>
          </ac:picMkLst>
        </pc:picChg>
        <pc:sldLayoutChg chg="del">
          <pc:chgData name="Gareth Allott" userId="d67bc1e7-5e6e-4540-bcf9-468a02f7a83e" providerId="ADAL" clId="{73C83929-70DB-46AC-846C-28C43116D9C0}" dt="2021-03-25T14:36:45.804" v="3" actId="2696"/>
          <pc:sldLayoutMkLst>
            <pc:docMk/>
            <pc:sldMasterMk cId="1387843936" sldId="2147483674"/>
            <pc:sldLayoutMk cId="3002706830" sldId="2147483675"/>
          </pc:sldLayoutMkLst>
        </pc:sldLayoutChg>
        <pc:sldLayoutChg chg="del">
          <pc:chgData name="Gareth Allott" userId="d67bc1e7-5e6e-4540-bcf9-468a02f7a83e" providerId="ADAL" clId="{73C83929-70DB-46AC-846C-28C43116D9C0}" dt="2021-03-25T14:36:45.810" v="4" actId="2696"/>
          <pc:sldLayoutMkLst>
            <pc:docMk/>
            <pc:sldMasterMk cId="1387843936" sldId="2147483674"/>
            <pc:sldLayoutMk cId="700934089" sldId="2147483676"/>
          </pc:sldLayoutMkLst>
        </pc:sldLayoutChg>
        <pc:sldLayoutChg chg="del">
          <pc:chgData name="Gareth Allott" userId="d67bc1e7-5e6e-4540-bcf9-468a02f7a83e" providerId="ADAL" clId="{73C83929-70DB-46AC-846C-28C43116D9C0}" dt="2021-03-25T14:36:45.813" v="5" actId="2696"/>
          <pc:sldLayoutMkLst>
            <pc:docMk/>
            <pc:sldMasterMk cId="1387843936" sldId="2147483674"/>
            <pc:sldLayoutMk cId="4278817755" sldId="2147483677"/>
          </pc:sldLayoutMkLst>
        </pc:sldLayoutChg>
        <pc:sldLayoutChg chg="del">
          <pc:chgData name="Gareth Allott" userId="d67bc1e7-5e6e-4540-bcf9-468a02f7a83e" providerId="ADAL" clId="{73C83929-70DB-46AC-846C-28C43116D9C0}" dt="2021-03-25T14:36:45.820" v="6" actId="2696"/>
          <pc:sldLayoutMkLst>
            <pc:docMk/>
            <pc:sldMasterMk cId="1387843936" sldId="2147483674"/>
            <pc:sldLayoutMk cId="1829526477" sldId="2147483678"/>
          </pc:sldLayoutMkLst>
        </pc:sldLayoutChg>
        <pc:sldLayoutChg chg="del">
          <pc:chgData name="Gareth Allott" userId="d67bc1e7-5e6e-4540-bcf9-468a02f7a83e" providerId="ADAL" clId="{73C83929-70DB-46AC-846C-28C43116D9C0}" dt="2021-03-25T14:36:45.823" v="7" actId="2696"/>
          <pc:sldLayoutMkLst>
            <pc:docMk/>
            <pc:sldMasterMk cId="1387843936" sldId="2147483674"/>
            <pc:sldLayoutMk cId="2359955678" sldId="2147483679"/>
          </pc:sldLayoutMkLst>
        </pc:sldLayoutChg>
        <pc:sldLayoutChg chg="del">
          <pc:chgData name="Gareth Allott" userId="d67bc1e7-5e6e-4540-bcf9-468a02f7a83e" providerId="ADAL" clId="{73C83929-70DB-46AC-846C-28C43116D9C0}" dt="2021-03-25T14:36:45.829" v="8" actId="2696"/>
          <pc:sldLayoutMkLst>
            <pc:docMk/>
            <pc:sldMasterMk cId="1387843936" sldId="2147483674"/>
            <pc:sldLayoutMk cId="2690868868" sldId="2147483680"/>
          </pc:sldLayoutMkLst>
        </pc:sldLayoutChg>
        <pc:sldLayoutChg chg="del">
          <pc:chgData name="Gareth Allott" userId="d67bc1e7-5e6e-4540-bcf9-468a02f7a83e" providerId="ADAL" clId="{73C83929-70DB-46AC-846C-28C43116D9C0}" dt="2021-03-25T14:36:45.836" v="9" actId="2696"/>
          <pc:sldLayoutMkLst>
            <pc:docMk/>
            <pc:sldMasterMk cId="1387843936" sldId="2147483674"/>
            <pc:sldLayoutMk cId="3107101055" sldId="2147483681"/>
          </pc:sldLayoutMkLst>
        </pc:sldLayoutChg>
        <pc:sldLayoutChg chg="del">
          <pc:chgData name="Gareth Allott" userId="d67bc1e7-5e6e-4540-bcf9-468a02f7a83e" providerId="ADAL" clId="{73C83929-70DB-46AC-846C-28C43116D9C0}" dt="2021-03-25T14:36:45.841" v="10" actId="2696"/>
          <pc:sldLayoutMkLst>
            <pc:docMk/>
            <pc:sldMasterMk cId="1387843936" sldId="2147483674"/>
            <pc:sldLayoutMk cId="4009015949" sldId="2147483682"/>
          </pc:sldLayoutMkLst>
        </pc:sldLayoutChg>
        <pc:sldLayoutChg chg="del">
          <pc:chgData name="Gareth Allott" userId="d67bc1e7-5e6e-4540-bcf9-468a02f7a83e" providerId="ADAL" clId="{73C83929-70DB-46AC-846C-28C43116D9C0}" dt="2021-03-25T14:36:45.845" v="11" actId="2696"/>
          <pc:sldLayoutMkLst>
            <pc:docMk/>
            <pc:sldMasterMk cId="1387843936" sldId="2147483674"/>
            <pc:sldLayoutMk cId="1984193105" sldId="2147483683"/>
          </pc:sldLayoutMkLst>
        </pc:sldLayoutChg>
        <pc:sldLayoutChg chg="del">
          <pc:chgData name="Gareth Allott" userId="d67bc1e7-5e6e-4540-bcf9-468a02f7a83e" providerId="ADAL" clId="{73C83929-70DB-46AC-846C-28C43116D9C0}" dt="2021-03-25T14:36:45.853" v="12" actId="2696"/>
          <pc:sldLayoutMkLst>
            <pc:docMk/>
            <pc:sldMasterMk cId="1387843936" sldId="2147483674"/>
            <pc:sldLayoutMk cId="3027985010" sldId="2147483684"/>
          </pc:sldLayoutMkLst>
        </pc:sldLayoutChg>
        <pc:sldLayoutChg chg="del">
          <pc:chgData name="Gareth Allott" userId="d67bc1e7-5e6e-4540-bcf9-468a02f7a83e" providerId="ADAL" clId="{73C83929-70DB-46AC-846C-28C43116D9C0}" dt="2021-03-25T14:36:45.860" v="13" actId="2696"/>
          <pc:sldLayoutMkLst>
            <pc:docMk/>
            <pc:sldMasterMk cId="1387843936" sldId="2147483674"/>
            <pc:sldLayoutMk cId="1804317986" sldId="2147483685"/>
          </pc:sldLayoutMkLst>
        </pc:sldLayoutChg>
        <pc:sldLayoutChg chg="del">
          <pc:chgData name="Gareth Allott" userId="d67bc1e7-5e6e-4540-bcf9-468a02f7a83e" providerId="ADAL" clId="{73C83929-70DB-46AC-846C-28C43116D9C0}" dt="2021-03-25T14:36:45.864" v="14" actId="2696"/>
          <pc:sldLayoutMkLst>
            <pc:docMk/>
            <pc:sldMasterMk cId="1387843936" sldId="2147483674"/>
            <pc:sldLayoutMk cId="1098895735" sldId="2147483686"/>
          </pc:sldLayoutMkLst>
        </pc:sldLayoutChg>
        <pc:sldLayoutChg chg="addSp modSp mod">
          <pc:chgData name="Gareth Allott" userId="d67bc1e7-5e6e-4540-bcf9-468a02f7a83e" providerId="ADAL" clId="{73C83929-70DB-46AC-846C-28C43116D9C0}" dt="2021-03-25T14:47:03.771" v="450" actId="14100"/>
          <pc:sldLayoutMkLst>
            <pc:docMk/>
            <pc:sldMasterMk cId="1387843936" sldId="2147483674"/>
            <pc:sldLayoutMk cId="34587704" sldId="2147483687"/>
          </pc:sldLayoutMkLst>
          <pc:spChg chg="add mod">
            <ac:chgData name="Gareth Allott" userId="d67bc1e7-5e6e-4540-bcf9-468a02f7a83e" providerId="ADAL" clId="{73C83929-70DB-46AC-846C-28C43116D9C0}" dt="2021-03-25T14:47:03.771" v="450" actId="14100"/>
            <ac:spMkLst>
              <pc:docMk/>
              <pc:sldMasterMk cId="1387843936" sldId="2147483674"/>
              <pc:sldLayoutMk cId="34587704" sldId="2147483687"/>
              <ac:spMk id="3" creationId="{44189A2C-3295-4A10-ACEB-2A4935E68462}"/>
            </ac:spMkLst>
          </pc:spChg>
          <pc:graphicFrameChg chg="add mod modGraphic">
            <ac:chgData name="Gareth Allott" userId="d67bc1e7-5e6e-4540-bcf9-468a02f7a83e" providerId="ADAL" clId="{73C83929-70DB-46AC-846C-28C43116D9C0}" dt="2021-03-25T14:39:23.723" v="32" actId="14100"/>
            <ac:graphicFrameMkLst>
              <pc:docMk/>
              <pc:sldMasterMk cId="1387843936" sldId="2147483674"/>
              <pc:sldLayoutMk cId="34587704" sldId="2147483687"/>
              <ac:graphicFrameMk id="2" creationId="{8C75A594-C36B-464D-920B-902099C38E95}"/>
            </ac:graphicFrameMkLst>
          </pc:graphicFrameChg>
        </pc:sldLayoutChg>
        <pc:sldLayoutChg chg="del">
          <pc:chgData name="Gareth Allott" userId="d67bc1e7-5e6e-4540-bcf9-468a02f7a83e" providerId="ADAL" clId="{73C83929-70DB-46AC-846C-28C43116D9C0}" dt="2021-03-25T15:45:56.118" v="1848" actId="47"/>
          <pc:sldLayoutMkLst>
            <pc:docMk/>
            <pc:sldMasterMk cId="1387843936" sldId="2147483674"/>
            <pc:sldLayoutMk cId="835193265" sldId="2147483688"/>
          </pc:sldLayoutMkLst>
        </pc:sldLayoutChg>
      </pc:sldMasterChg>
      <pc:sldMasterChg chg="delSldLayout">
        <pc:chgData name="Gareth Allott" userId="d67bc1e7-5e6e-4540-bcf9-468a02f7a83e" providerId="ADAL" clId="{73C83929-70DB-46AC-846C-28C43116D9C0}" dt="2021-03-26T11:30:52.534" v="4356" actId="47"/>
        <pc:sldMasterMkLst>
          <pc:docMk/>
          <pc:sldMasterMk cId="2767602239" sldId="2147483689"/>
        </pc:sldMasterMkLst>
        <pc:sldLayoutChg chg="del">
          <pc:chgData name="Gareth Allott" userId="d67bc1e7-5e6e-4540-bcf9-468a02f7a83e" providerId="ADAL" clId="{73C83929-70DB-46AC-846C-28C43116D9C0}" dt="2021-03-26T11:30:52.534" v="4356" actId="47"/>
          <pc:sldLayoutMkLst>
            <pc:docMk/>
            <pc:sldMasterMk cId="2767602239" sldId="2147483689"/>
            <pc:sldLayoutMk cId="3062504933" sldId="2147483714"/>
          </pc:sldLayoutMkLst>
        </pc:sldLayoutChg>
      </pc:sldMasterChg>
      <pc:sldMasterChg chg="modSldLayout">
        <pc:chgData name="Gareth Allott" userId="d67bc1e7-5e6e-4540-bcf9-468a02f7a83e" providerId="ADAL" clId="{73C83929-70DB-46AC-846C-28C43116D9C0}" dt="2021-03-25T14:36:35.697" v="2" actId="478"/>
        <pc:sldMasterMkLst>
          <pc:docMk/>
          <pc:sldMasterMk cId="2161705456" sldId="2147483715"/>
        </pc:sldMasterMkLst>
        <pc:sldLayoutChg chg="delSp mod">
          <pc:chgData name="Gareth Allott" userId="d67bc1e7-5e6e-4540-bcf9-468a02f7a83e" providerId="ADAL" clId="{73C83929-70DB-46AC-846C-28C43116D9C0}" dt="2021-03-25T14:36:35.697" v="2" actId="478"/>
          <pc:sldLayoutMkLst>
            <pc:docMk/>
            <pc:sldMasterMk cId="2161705456" sldId="2147483660"/>
            <pc:sldLayoutMk cId="1112616330" sldId="2147483673"/>
          </pc:sldLayoutMkLst>
          <pc:spChg chg="del">
            <ac:chgData name="Gareth Allott" userId="d67bc1e7-5e6e-4540-bcf9-468a02f7a83e" providerId="ADAL" clId="{73C83929-70DB-46AC-846C-28C43116D9C0}" dt="2021-03-25T14:36:35.697" v="2" actId="478"/>
            <ac:spMkLst>
              <pc:docMk/>
              <pc:sldMasterMk cId="2161705456" sldId="2147483660"/>
              <pc:sldLayoutMk cId="1112616330" sldId="2147483673"/>
              <ac:spMk id="4" creationId="{5E5CBCD1-B062-F44F-A67F-EA840BD1A9D7}"/>
            </ac:spMkLst>
          </pc:spChg>
        </pc:sldLayoutChg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9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Afbeelding 11" descr="Grey_FishSign_Bi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70496" y="1371445"/>
            <a:ext cx="8022802" cy="3867110"/>
          </a:xfrm>
          <a:prstGeom prst="rect">
            <a:avLst/>
          </a:prstGeom>
        </p:spPr>
      </p:pic>
      <p:sp>
        <p:nvSpPr>
          <p:cNvPr id="16" name="Rectangle 46"/>
          <p:cNvSpPr>
            <a:spLocks noGrp="1" noChangeArrowheads="1"/>
          </p:cNvSpPr>
          <p:nvPr>
            <p:ph type="ctrTitle"/>
          </p:nvPr>
        </p:nvSpPr>
        <p:spPr>
          <a:xfrm>
            <a:off x="720654" y="2484470"/>
            <a:ext cx="10800595" cy="1126232"/>
          </a:xfrm>
          <a:prstGeom prst="rect">
            <a:avLst/>
          </a:prstGeom>
        </p:spPr>
        <p:txBody>
          <a:bodyPr tIns="45720" bIns="45720" anchor="ctr"/>
          <a:lstStyle>
            <a:lvl1pPr algn="l">
              <a:defRPr sz="4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1" name="Afbeelding 20" descr="Galapagos_Wordlogo_NORMAL_RGB_Mediu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7346" y="908720"/>
            <a:ext cx="3741890" cy="722678"/>
          </a:xfrm>
          <a:prstGeom prst="rect">
            <a:avLst/>
          </a:prstGeom>
        </p:spPr>
      </p:pic>
      <p:sp>
        <p:nvSpPr>
          <p:cNvPr id="1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805280" y="4521200"/>
            <a:ext cx="4945452" cy="400110"/>
          </a:xfrm>
        </p:spPr>
        <p:txBody>
          <a:bodyPr>
            <a:spAutoFit/>
          </a:bodyPr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5pPr marL="2081127" indent="-285750">
              <a:buFont typeface="Arial" charset="0"/>
              <a:buChar char="•"/>
              <a:defRPr/>
            </a:lvl5pPr>
          </a:lstStyle>
          <a:p>
            <a:pPr lvl="0" eaLnBrk="0" hangingPunct="0"/>
            <a:r>
              <a:rPr lang="en-US" sz="2000">
                <a:solidFill>
                  <a:schemeClr val="tx2"/>
                </a:solidFill>
              </a:rPr>
              <a:t>Edit Master text styles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1805280" y="5441167"/>
            <a:ext cx="4945452" cy="400110"/>
          </a:xfrm>
        </p:spPr>
        <p:txBody>
          <a:bodyPr>
            <a:spAutoFit/>
          </a:bodyPr>
          <a:lstStyle>
            <a:lvl1pPr marL="0" indent="0">
              <a:buNone/>
              <a:defRPr sz="1600" b="0" i="1">
                <a:solidFill>
                  <a:schemeClr val="tx1"/>
                </a:solidFill>
              </a:defRPr>
            </a:lvl1pPr>
            <a:lvl5pPr marL="2081127" indent="-285750">
              <a:buFont typeface="Arial" charset="0"/>
              <a:buChar char="•"/>
              <a:defRPr/>
            </a:lvl5pPr>
          </a:lstStyle>
          <a:p>
            <a:pPr lvl="0" eaLnBrk="0" hangingPunct="0"/>
            <a:r>
              <a:rPr lang="en-US" sz="2000">
                <a:solidFill>
                  <a:schemeClr val="tx2"/>
                </a:solidFill>
              </a:rPr>
              <a:t>Edit Master text styl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5C3B7C9-87DC-D848-A006-2948FF11279E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>
                    <a:lumMod val="50000"/>
                  </a:schemeClr>
                </a:solidFill>
              </a:rPr>
              <a:t>Confidentia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91DB478-2D11-9847-BC61-B9E9F471194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>
                    <a:lumMod val="50000"/>
                  </a:schemeClr>
                </a:solidFill>
              </a:rPr>
              <a:t>‹#›</a:t>
            </a:fld>
            <a:endParaRPr lang="en-US" sz="1000" i="1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0745855"/>
      </p:ext>
    </p:extLst>
  </p:cSld>
  <p:clrMapOvr>
    <a:masterClrMapping/>
  </p:clrMapOvr>
  <p:transition>
    <p:wipe dir="d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Green_Half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/>
          <p:nvPr userDrawn="1"/>
        </p:nvSpPr>
        <p:spPr bwMode="auto">
          <a:xfrm>
            <a:off x="-6825" y="0"/>
            <a:ext cx="6102825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45492" y="1773238"/>
            <a:ext cx="4984621" cy="434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692117" indent="-295261">
              <a:buFont typeface="Wingdings" panose="05000000000000000000" pitchFamily="2" charset="2"/>
              <a:buChar char="Ø"/>
              <a:defRPr>
                <a:solidFill>
                  <a:schemeClr val="bg1"/>
                </a:solidFill>
              </a:defRPr>
            </a:lvl2pPr>
            <a:lvl3pPr marL="1030239" indent="-223827"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Afbeelding 12" descr="Greyfish_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741585" y="260649"/>
            <a:ext cx="498830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1EC981F-02F4-2F4F-8AB8-23A6006569EB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4B8CE77-31AA-CA4B-B14C-01F2F5148A85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8686737"/>
      </p:ext>
    </p:extLst>
  </p:cSld>
  <p:clrMapOvr>
    <a:masterClrMapping/>
  </p:clrMapOvr>
  <p:transition>
    <p:wipe dir="d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Green_Half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/>
          <p:nvPr userDrawn="1"/>
        </p:nvSpPr>
        <p:spPr bwMode="auto">
          <a:xfrm>
            <a:off x="6096954" y="0"/>
            <a:ext cx="6095046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420684" y="1773238"/>
            <a:ext cx="4911393" cy="434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692117" indent="-295261">
              <a:buFont typeface="Wingdings" panose="05000000000000000000" pitchFamily="2" charset="2"/>
              <a:buChar char="Ø"/>
              <a:defRPr>
                <a:solidFill>
                  <a:schemeClr val="bg1"/>
                </a:solidFill>
              </a:defRPr>
            </a:lvl2pPr>
            <a:lvl3pPr marL="1030239" indent="-223827"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Afbeelding 12" descr="Greyfish_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416777" y="260649"/>
            <a:ext cx="4915025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0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218369426"/>
      </p:ext>
    </p:extLst>
  </p:cSld>
  <p:clrMapOvr>
    <a:masterClrMapping/>
  </p:clrMapOvr>
  <p:transition>
    <p:wipe dir="d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6303" y="96278"/>
            <a:ext cx="11639394" cy="98288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28505486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12616330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4">
            <a:extLst>
              <a:ext uri="{FF2B5EF4-FFF2-40B4-BE49-F238E27FC236}">
                <a16:creationId xmlns:a16="http://schemas.microsoft.com/office/drawing/2014/main" id="{8C75A594-C36B-464D-920B-902099C38E95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366222414"/>
              </p:ext>
            </p:extLst>
          </p:nvPr>
        </p:nvGraphicFramePr>
        <p:xfrm>
          <a:off x="-2" y="0"/>
          <a:ext cx="12191998" cy="68961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41714">
                  <a:extLst>
                    <a:ext uri="{9D8B030D-6E8A-4147-A177-3AD203B41FA5}">
                      <a16:colId xmlns:a16="http://schemas.microsoft.com/office/drawing/2014/main" val="4102723837"/>
                    </a:ext>
                  </a:extLst>
                </a:gridCol>
                <a:gridCol w="1741714">
                  <a:extLst>
                    <a:ext uri="{9D8B030D-6E8A-4147-A177-3AD203B41FA5}">
                      <a16:colId xmlns:a16="http://schemas.microsoft.com/office/drawing/2014/main" val="2363599538"/>
                    </a:ext>
                  </a:extLst>
                </a:gridCol>
                <a:gridCol w="1741714">
                  <a:extLst>
                    <a:ext uri="{9D8B030D-6E8A-4147-A177-3AD203B41FA5}">
                      <a16:colId xmlns:a16="http://schemas.microsoft.com/office/drawing/2014/main" val="692623295"/>
                    </a:ext>
                  </a:extLst>
                </a:gridCol>
                <a:gridCol w="1741714">
                  <a:extLst>
                    <a:ext uri="{9D8B030D-6E8A-4147-A177-3AD203B41FA5}">
                      <a16:colId xmlns:a16="http://schemas.microsoft.com/office/drawing/2014/main" val="2114587897"/>
                    </a:ext>
                  </a:extLst>
                </a:gridCol>
                <a:gridCol w="1741714">
                  <a:extLst>
                    <a:ext uri="{9D8B030D-6E8A-4147-A177-3AD203B41FA5}">
                      <a16:colId xmlns:a16="http://schemas.microsoft.com/office/drawing/2014/main" val="635373011"/>
                    </a:ext>
                  </a:extLst>
                </a:gridCol>
                <a:gridCol w="1741714">
                  <a:extLst>
                    <a:ext uri="{9D8B030D-6E8A-4147-A177-3AD203B41FA5}">
                      <a16:colId xmlns:a16="http://schemas.microsoft.com/office/drawing/2014/main" val="3542571027"/>
                    </a:ext>
                  </a:extLst>
                </a:gridCol>
                <a:gridCol w="1741714">
                  <a:extLst>
                    <a:ext uri="{9D8B030D-6E8A-4147-A177-3AD203B41FA5}">
                      <a16:colId xmlns:a16="http://schemas.microsoft.com/office/drawing/2014/main" val="3034810348"/>
                    </a:ext>
                  </a:extLst>
                </a:gridCol>
              </a:tblGrid>
              <a:tr h="6896100"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5456596"/>
                  </a:ext>
                </a:extLst>
              </a:tr>
            </a:tbl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44189A2C-3295-4A10-ACEB-2A4935E68462}"/>
              </a:ext>
            </a:extLst>
          </p:cNvPr>
          <p:cNvSpPr/>
          <p:nvPr userDrawn="1"/>
        </p:nvSpPr>
        <p:spPr bwMode="auto">
          <a:xfrm>
            <a:off x="0" y="0"/>
            <a:ext cx="12192000" cy="1208015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87704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&amp; 2 Columns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6324332"/>
      </p:ext>
    </p:extLst>
  </p:cSld>
  <p:clrMapOvr>
    <a:masterClrMapping/>
  </p:clrMapOvr>
  <p:transition>
    <p:wipe dir="d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: Titel &amp; More Slide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959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" name="think-cell Slide" r:id="rId4" imgW="519" imgH="520" progId="TCLayout.ActiveDocument.1">
                  <p:embed/>
                </p:oleObj>
              </mc:Choice>
              <mc:Fallback>
                <p:oleObj name="think-cell Slide" r:id="rId4" imgW="519" imgH="52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9" y="159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59809"/>
            <a:ext cx="10810627" cy="12969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0" hasCustomPrompt="1"/>
          </p:nvPr>
        </p:nvSpPr>
        <p:spPr>
          <a:xfrm>
            <a:off x="733284" y="1773238"/>
            <a:ext cx="10806722" cy="4343400"/>
          </a:xfrm>
        </p:spPr>
        <p:txBody>
          <a:bodyPr/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</a:defRPr>
            </a:lvl1pPr>
            <a:lvl2pPr marL="692117" indent="-295261"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defRPr baseline="0">
                <a:solidFill>
                  <a:srgbClr val="000000"/>
                </a:solidFill>
                <a:latin typeface="Tahoma" pitchFamily="34" charset="0"/>
              </a:defRPr>
            </a:lvl2pPr>
            <a:lvl3pPr marL="806412" indent="0">
              <a:buClr>
                <a:schemeClr val="accent1"/>
              </a:buClr>
              <a:buSzPct val="110000"/>
              <a:buFont typeface="Wingdings" panose="05000000000000000000" pitchFamily="2" charset="2"/>
              <a:buNone/>
              <a:defRPr>
                <a:solidFill>
                  <a:srgbClr val="000000"/>
                </a:solidFill>
              </a:defRPr>
            </a:lvl3pPr>
            <a:lvl4pPr marL="1495367" indent="-285750"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defRPr>
                <a:solidFill>
                  <a:srgbClr val="000000"/>
                </a:solidFill>
              </a:defRPr>
            </a:lvl4pPr>
            <a:lvl5pPr marL="2081113" indent="-285737">
              <a:buClr>
                <a:schemeClr val="accent1"/>
              </a:buClr>
              <a:buSzPct val="110000"/>
              <a:buFont typeface="Arial" charset="0"/>
              <a:buChar char="•"/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37064635"/>
      </p:ext>
    </p:extLst>
  </p:cSld>
  <p:clrMapOvr>
    <a:masterClrMapping/>
  </p:clrMapOvr>
  <p:transition>
    <p:wipe dir="d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close up of a logo&#10;&#10;Description automatically generated">
            <a:extLst>
              <a:ext uri="{FF2B5EF4-FFF2-40B4-BE49-F238E27FC236}">
                <a16:creationId xmlns:a16="http://schemas.microsoft.com/office/drawing/2014/main" id="{D4EC7FEB-3003-CF4D-A0F5-0CC93E08602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92277" y="5549296"/>
            <a:ext cx="2976331" cy="568003"/>
          </a:xfrm>
          <a:prstGeom prst="rect">
            <a:avLst/>
          </a:prstGeom>
        </p:spPr>
      </p:pic>
      <p:pic>
        <p:nvPicPr>
          <p:cNvPr id="12" name="Picture 11" descr="A picture containing computer&#10;&#10;Description automatically generated">
            <a:extLst>
              <a:ext uri="{FF2B5EF4-FFF2-40B4-BE49-F238E27FC236}">
                <a16:creationId xmlns:a16="http://schemas.microsoft.com/office/drawing/2014/main" id="{49E3826A-D34B-9245-A792-8736A1692C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494"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252133" y="2452620"/>
            <a:ext cx="7696200" cy="1119449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40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6AFF936-6769-5E4F-9013-92A64286AAAC}"/>
              </a:ext>
            </a:extLst>
          </p:cNvPr>
          <p:cNvCxnSpPr>
            <a:cxnSpLocks/>
          </p:cNvCxnSpPr>
          <p:nvPr userDrawn="1"/>
        </p:nvCxnSpPr>
        <p:spPr>
          <a:xfrm>
            <a:off x="2252133" y="3572069"/>
            <a:ext cx="7696200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3AC4FD4-8040-1940-A5A6-CB21B9EFADC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52133" y="3750733"/>
            <a:ext cx="7696200" cy="52493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0" name="Text Placeholder 18">
            <a:extLst>
              <a:ext uri="{FF2B5EF4-FFF2-40B4-BE49-F238E27FC236}">
                <a16:creationId xmlns:a16="http://schemas.microsoft.com/office/drawing/2014/main" id="{4B34FC74-1D5B-C143-891E-3E826BD73FD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52134" y="4592302"/>
            <a:ext cx="2742949" cy="2167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67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add date</a:t>
            </a:r>
          </a:p>
        </p:txBody>
      </p:sp>
      <p:sp>
        <p:nvSpPr>
          <p:cNvPr id="14" name="Text Placeholder 18">
            <a:extLst>
              <a:ext uri="{FF2B5EF4-FFF2-40B4-BE49-F238E27FC236}">
                <a16:creationId xmlns:a16="http://schemas.microsoft.com/office/drawing/2014/main" id="{BAC81BB4-212F-F341-80DB-09B1016D348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52134" y="5857970"/>
            <a:ext cx="7678516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pic>
        <p:nvPicPr>
          <p:cNvPr id="10" name="Picture 9" descr="A close up of a sign&#10;&#10;Description automatically generated">
            <a:extLst>
              <a:ext uri="{FF2B5EF4-FFF2-40B4-BE49-F238E27FC236}">
                <a16:creationId xmlns:a16="http://schemas.microsoft.com/office/drawing/2014/main" id="{62486E00-792C-4543-B570-6D54CEF7D7E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272768" y="886933"/>
            <a:ext cx="2759417" cy="7599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967106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7B60D4D6-C6A9-4342-AAFE-6F94FB21CAC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63600" y="1797051"/>
            <a:ext cx="10464800" cy="2731407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40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Picture 4" descr="A close up of a logo&#10;&#10;Description automatically generated">
            <a:extLst>
              <a:ext uri="{FF2B5EF4-FFF2-40B4-BE49-F238E27FC236}">
                <a16:creationId xmlns:a16="http://schemas.microsoft.com/office/drawing/2014/main" id="{3243E947-ECA8-1E4D-9828-568C2A74E40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" y="91667"/>
            <a:ext cx="2491497" cy="17599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316592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8D7DA87-CDA4-BC4F-9E15-59BC7BCA80E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5563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584146" y="6459446"/>
            <a:ext cx="601133" cy="171449"/>
          </a:xfrm>
        </p:spPr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18">
            <a:extLst>
              <a:ext uri="{FF2B5EF4-FFF2-40B4-BE49-F238E27FC236}">
                <a16:creationId xmlns:a16="http://schemas.microsoft.com/office/drawing/2014/main" id="{4396E358-08DD-5748-8748-CF47C23D54D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1F7EB629-5986-1945-9C9E-60CE2AAD40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6436788"/>
            <a:ext cx="7678516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pic>
        <p:nvPicPr>
          <p:cNvPr id="9" name="Picture 8" descr="A picture containing food&#10;&#10;Description automatically generated">
            <a:extLst>
              <a:ext uri="{FF2B5EF4-FFF2-40B4-BE49-F238E27FC236}">
                <a16:creationId xmlns:a16="http://schemas.microsoft.com/office/drawing/2014/main" id="{E5326CD1-3904-B54A-8C24-6F259E7CC29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8236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: Titel &amp; More Slide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959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think-cell Slide" r:id="rId4" imgW="519" imgH="520" progId="TCLayout.ActiveDocument.1">
                  <p:embed/>
                </p:oleObj>
              </mc:Choice>
              <mc:Fallback>
                <p:oleObj name="think-cell Slide" r:id="rId4" imgW="519" imgH="52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9" y="159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59809"/>
            <a:ext cx="10810627" cy="12969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0" hasCustomPrompt="1"/>
          </p:nvPr>
        </p:nvSpPr>
        <p:spPr>
          <a:xfrm>
            <a:off x="733284" y="1773238"/>
            <a:ext cx="10806722" cy="4343400"/>
          </a:xfrm>
        </p:spPr>
        <p:txBody>
          <a:bodyPr/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</a:defRPr>
            </a:lvl1pPr>
            <a:lvl2pPr marL="692117" indent="-295261"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defRPr baseline="0">
                <a:solidFill>
                  <a:srgbClr val="000000"/>
                </a:solidFill>
                <a:latin typeface="Tahoma" pitchFamily="34" charset="0"/>
              </a:defRPr>
            </a:lvl2pPr>
            <a:lvl3pPr marL="806412" indent="0">
              <a:buClr>
                <a:schemeClr val="accent1"/>
              </a:buClr>
              <a:buSzPct val="110000"/>
              <a:buFont typeface="Wingdings" panose="05000000000000000000" pitchFamily="2" charset="2"/>
              <a:buNone/>
              <a:defRPr>
                <a:solidFill>
                  <a:srgbClr val="000000"/>
                </a:solidFill>
              </a:defRPr>
            </a:lvl3pPr>
            <a:lvl4pPr marL="1495367" indent="-285750"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defRPr>
                <a:solidFill>
                  <a:srgbClr val="000000"/>
                </a:solidFill>
              </a:defRPr>
            </a:lvl4pPr>
            <a:lvl5pPr marL="2081113" indent="-285737">
              <a:buClr>
                <a:schemeClr val="accent1"/>
              </a:buClr>
              <a:buSzPct val="110000"/>
              <a:buFont typeface="Arial" charset="0"/>
              <a:buChar char="•"/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173701797"/>
      </p:ext>
    </p:extLst>
  </p:cSld>
  <p:clrMapOvr>
    <a:masterClrMapping/>
  </p:clrMapOvr>
  <p:transition>
    <p:wipe dir="d"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F363A195-CE96-D842-9603-C967A7C7DB5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630836" y="6459446"/>
            <a:ext cx="601133" cy="171449"/>
          </a:xfrm>
        </p:spPr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4765"/>
            <a:ext cx="10464800" cy="853279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E87BDDA0-37D6-374F-8CD6-794707DCF6B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6436788"/>
            <a:ext cx="7678516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BF959AB0-4E19-5643-AEF5-198333A5FA3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3600" y="1292323"/>
            <a:ext cx="10490200" cy="4275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subhead here</a:t>
            </a:r>
          </a:p>
        </p:txBody>
      </p:sp>
      <p:sp>
        <p:nvSpPr>
          <p:cNvPr id="9" name="Text Placeholder 18">
            <a:extLst>
              <a:ext uri="{FF2B5EF4-FFF2-40B4-BE49-F238E27FC236}">
                <a16:creationId xmlns:a16="http://schemas.microsoft.com/office/drawing/2014/main" id="{57F8215E-591F-2447-B058-033F7A5F49C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12" name="Picture 11" descr="A picture containing food&#10;&#10;Description automatically generated">
            <a:extLst>
              <a:ext uri="{FF2B5EF4-FFF2-40B4-BE49-F238E27FC236}">
                <a16:creationId xmlns:a16="http://schemas.microsoft.com/office/drawing/2014/main" id="{5E04DBA0-A8F2-BD4F-B20A-C1A4AECA4F3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09074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FB4D8C5D-2A98-6746-B2C9-B3F01796E64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4765"/>
            <a:ext cx="10464800" cy="853279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38F0816A-24E2-FE44-8A4F-EFCB2DA34C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3599" y="6436788"/>
            <a:ext cx="7778831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BDBB7F96-3B65-7B43-8995-9E625DD3367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10" name="Picture 9" descr="A picture containing food&#10;&#10;Description automatically generated">
            <a:extLst>
              <a:ext uri="{FF2B5EF4-FFF2-40B4-BE49-F238E27FC236}">
                <a16:creationId xmlns:a16="http://schemas.microsoft.com/office/drawing/2014/main" id="{7F4FAF77-E84D-2240-9062-F25F34D1198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14832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7866E420-28E6-E142-B1C4-384F0C26A1B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4765"/>
            <a:ext cx="10464800" cy="853279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38F0816A-24E2-FE44-8A4F-EFCB2DA34C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3599" y="6436788"/>
            <a:ext cx="7778831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BDBB7F96-3B65-7B43-8995-9E625DD3367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0BA66297-39AD-4245-B16C-31C9E8A86068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863600" y="1797052"/>
            <a:ext cx="10464800" cy="4032249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endParaRPr lang="en-US"/>
          </a:p>
        </p:txBody>
      </p:sp>
      <p:pic>
        <p:nvPicPr>
          <p:cNvPr id="13" name="Picture 12" descr="A picture containing food&#10;&#10;Description automatically generated">
            <a:extLst>
              <a:ext uri="{FF2B5EF4-FFF2-40B4-BE49-F238E27FC236}">
                <a16:creationId xmlns:a16="http://schemas.microsoft.com/office/drawing/2014/main" id="{2C1030D3-4C88-E241-BC5F-ED0CCACA76C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30860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3D6F0515-DD29-764E-8F2E-9E615FCF45D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38F0816A-24E2-FE44-8A4F-EFCB2DA34C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3599" y="6436788"/>
            <a:ext cx="7778831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BDBB7F96-3B65-7B43-8995-9E625DD3367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0BA66297-39AD-4245-B16C-31C9E8A86068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863600" y="878776"/>
            <a:ext cx="10464800" cy="4950525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endParaRPr lang="en-US"/>
          </a:p>
        </p:txBody>
      </p:sp>
      <p:pic>
        <p:nvPicPr>
          <p:cNvPr id="13" name="Picture 12" descr="A picture containing food&#10;&#10;Description automatically generated">
            <a:extLst>
              <a:ext uri="{FF2B5EF4-FFF2-40B4-BE49-F238E27FC236}">
                <a16:creationId xmlns:a16="http://schemas.microsoft.com/office/drawing/2014/main" id="{D4328970-8600-5544-AFEF-04A9B4380FF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79476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C3FD8C13-2F89-1242-A1B3-BF115D26F6B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863605" y="1532800"/>
            <a:ext cx="5052603" cy="758392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1D7FF828-A2C4-8D4F-BCBA-341C968335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3601" y="2456463"/>
            <a:ext cx="5052607" cy="337283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EDABBE04-DDB7-0142-8FC1-5677E57D50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6436788"/>
            <a:ext cx="7763397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9" name="Text Placeholder 18">
            <a:extLst>
              <a:ext uri="{FF2B5EF4-FFF2-40B4-BE49-F238E27FC236}">
                <a16:creationId xmlns:a16="http://schemas.microsoft.com/office/drawing/2014/main" id="{8C2069FC-F663-9B4B-B495-5C21B3A2E07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CA4C1928-8DA7-8746-BCB7-A1950C5B2C6B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6275789" y="878776"/>
            <a:ext cx="5052611" cy="4950525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endParaRPr lang="en-US"/>
          </a:p>
        </p:txBody>
      </p:sp>
      <p:pic>
        <p:nvPicPr>
          <p:cNvPr id="13" name="Picture 12" descr="A picture containing food&#10;&#10;Description automatically generated">
            <a:extLst>
              <a:ext uri="{FF2B5EF4-FFF2-40B4-BE49-F238E27FC236}">
                <a16:creationId xmlns:a16="http://schemas.microsoft.com/office/drawing/2014/main" id="{A6D42A49-1496-0E41-AAE2-53504FCBDB1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75755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7A2E0F9E-1B89-1A44-B589-26AED4514D2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6275795" y="1532800"/>
            <a:ext cx="5052603" cy="758392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1D7FF828-A2C4-8D4F-BCBA-341C968335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75790" y="2456463"/>
            <a:ext cx="5052607" cy="337283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EDABBE04-DDB7-0142-8FC1-5677E57D50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6436788"/>
            <a:ext cx="7763397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CA4C1928-8DA7-8746-BCB7-A1950C5B2C6B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863600" y="878776"/>
            <a:ext cx="5052611" cy="4950525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endParaRPr lang="en-US"/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D7E715AC-2F65-9D48-9C31-DC2EA363E1D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13" name="Picture 12" descr="A picture containing food&#10;&#10;Description automatically generated">
            <a:extLst>
              <a:ext uri="{FF2B5EF4-FFF2-40B4-BE49-F238E27FC236}">
                <a16:creationId xmlns:a16="http://schemas.microsoft.com/office/drawing/2014/main" id="{AF90011C-BABB-F147-886E-E51EC07CEEA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45880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A860CE29-A07C-E24F-86E6-33E3860C485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D80434B-45BC-724F-86CA-DB078C2762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4765"/>
            <a:ext cx="10464800" cy="853279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9A455E9F-B1B6-CC4B-ADB7-FE762C83FC0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63601" y="1797052"/>
            <a:ext cx="10464799" cy="4032249"/>
          </a:xfrm>
          <a:prstGeom prst="rect">
            <a:avLst/>
          </a:prstGeom>
        </p:spPr>
        <p:txBody>
          <a:bodyPr lIns="0" tIns="0" rIns="0" bIns="0" anchor="ctr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683D25DA-F533-E449-9C72-EFA5288FF94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3600" y="1292323"/>
            <a:ext cx="10490200" cy="4275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subhead here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CA09709B-93D1-5846-BF92-D12943FA2C3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16" name="Text Placeholder 18">
            <a:extLst>
              <a:ext uri="{FF2B5EF4-FFF2-40B4-BE49-F238E27FC236}">
                <a16:creationId xmlns:a16="http://schemas.microsoft.com/office/drawing/2014/main" id="{7EF141EE-5539-1E48-B306-D1F0A858730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6436788"/>
            <a:ext cx="7763397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D6E552D1-BAD2-FC4B-AD94-43053B4ABC1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5" name="Picture 4" descr="A picture containing food&#10;&#10;Description automatically generated">
            <a:extLst>
              <a:ext uri="{FF2B5EF4-FFF2-40B4-BE49-F238E27FC236}">
                <a16:creationId xmlns:a16="http://schemas.microsoft.com/office/drawing/2014/main" id="{CF562FFE-D301-974C-A769-E835F8377A5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85697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237DF505-FAF6-7A4F-BDF3-BDD09CAE27C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863600" y="404765"/>
            <a:ext cx="10464800" cy="853279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DDAF43F-AFA5-9F49-9746-FED41DCE2F20}"/>
              </a:ext>
            </a:extLst>
          </p:cNvPr>
          <p:cNvSpPr>
            <a:spLocks noGrp="1"/>
          </p:cNvSpPr>
          <p:nvPr userDrawn="1">
            <p:ph type="body" sz="quarter" idx="13"/>
          </p:nvPr>
        </p:nvSpPr>
        <p:spPr>
          <a:xfrm>
            <a:off x="863601" y="1797052"/>
            <a:ext cx="5052609" cy="4032249"/>
          </a:xfrm>
          <a:prstGeom prst="rect">
            <a:avLst/>
          </a:prstGeom>
        </p:spPr>
        <p:txBody>
          <a:bodyPr lIns="0" tIns="0" rIns="0" bIns="0" anchor="ctr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3CC1CF55-265E-2249-9116-28C4D9B8B091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275790" y="1797052"/>
            <a:ext cx="5052609" cy="4032249"/>
          </a:xfrm>
          <a:prstGeom prst="rect">
            <a:avLst/>
          </a:prstGeom>
        </p:spPr>
        <p:txBody>
          <a:bodyPr lIns="0" tIns="0" rIns="0" bIns="0" anchor="ctr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ext Placeholder 18">
            <a:extLst>
              <a:ext uri="{FF2B5EF4-FFF2-40B4-BE49-F238E27FC236}">
                <a16:creationId xmlns:a16="http://schemas.microsoft.com/office/drawing/2014/main" id="{468750AA-7237-184E-A7B9-579FE9B791F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3599" y="6436788"/>
            <a:ext cx="7732532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9" name="Text Placeholder 18">
            <a:extLst>
              <a:ext uri="{FF2B5EF4-FFF2-40B4-BE49-F238E27FC236}">
                <a16:creationId xmlns:a16="http://schemas.microsoft.com/office/drawing/2014/main" id="{35F48131-D77A-0B47-806E-66BEAA9F02E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15" name="Picture 14" descr="A picture containing food&#10;&#10;Description automatically generated">
            <a:extLst>
              <a:ext uri="{FF2B5EF4-FFF2-40B4-BE49-F238E27FC236}">
                <a16:creationId xmlns:a16="http://schemas.microsoft.com/office/drawing/2014/main" id="{736730F5-6A73-044A-85F1-02198CFBF2F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27148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62BA6798-D065-0746-BEBD-1923E07F6D6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4765"/>
            <a:ext cx="10464800" cy="853279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DDAF43F-AFA5-9F49-9746-FED41DCE2F20}"/>
              </a:ext>
            </a:extLst>
          </p:cNvPr>
          <p:cNvSpPr>
            <a:spLocks noGrp="1"/>
          </p:cNvSpPr>
          <p:nvPr userDrawn="1">
            <p:ph type="body" sz="quarter" idx="13"/>
          </p:nvPr>
        </p:nvSpPr>
        <p:spPr>
          <a:xfrm>
            <a:off x="863601" y="2649240"/>
            <a:ext cx="2485664" cy="3180061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3CC1CF55-265E-2249-9116-28C4D9B8B09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842736" y="2649240"/>
            <a:ext cx="2485664" cy="3180061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A3818016-5C96-2B44-884F-78BB62E2084C}"/>
              </a:ext>
            </a:extLst>
          </p:cNvPr>
          <p:cNvSpPr>
            <a:spLocks noGrp="1"/>
          </p:cNvSpPr>
          <p:nvPr userDrawn="1">
            <p:ph type="body" sz="quarter" idx="17"/>
          </p:nvPr>
        </p:nvSpPr>
        <p:spPr>
          <a:xfrm>
            <a:off x="1301703" y="1797051"/>
            <a:ext cx="1787548" cy="65968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</a:t>
            </a:r>
          </a:p>
        </p:txBody>
      </p:sp>
      <p:sp>
        <p:nvSpPr>
          <p:cNvPr id="21" name="Text Placeholder 18">
            <a:extLst>
              <a:ext uri="{FF2B5EF4-FFF2-40B4-BE49-F238E27FC236}">
                <a16:creationId xmlns:a16="http://schemas.microsoft.com/office/drawing/2014/main" id="{680852F8-925F-F747-9419-8ED70D56B85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967671" y="1797051"/>
            <a:ext cx="1787548" cy="65968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</a:t>
            </a:r>
          </a:p>
        </p:txBody>
      </p:sp>
      <p:sp>
        <p:nvSpPr>
          <p:cNvPr id="23" name="Text Placeholder 18">
            <a:extLst>
              <a:ext uri="{FF2B5EF4-FFF2-40B4-BE49-F238E27FC236}">
                <a16:creationId xmlns:a16="http://schemas.microsoft.com/office/drawing/2014/main" id="{98DD4382-CCED-7C4E-85DC-CA00337C4B3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616911" y="1797051"/>
            <a:ext cx="1787548" cy="65968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</a:t>
            </a:r>
          </a:p>
        </p:txBody>
      </p:sp>
      <p:sp>
        <p:nvSpPr>
          <p:cNvPr id="25" name="Text Placeholder 18">
            <a:extLst>
              <a:ext uri="{FF2B5EF4-FFF2-40B4-BE49-F238E27FC236}">
                <a16:creationId xmlns:a16="http://schemas.microsoft.com/office/drawing/2014/main" id="{0E053E3C-116F-A740-8A63-D11633115E2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284483" y="1797051"/>
            <a:ext cx="1787548" cy="65968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</a:t>
            </a:r>
          </a:p>
        </p:txBody>
      </p:sp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9D86E0A0-467C-334F-8777-52AF34326B1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63600" y="6436788"/>
            <a:ext cx="780925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normalizeH="0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C8EACA12-8FC8-D944-8F1A-2ED7D797F39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536755" y="2649240"/>
            <a:ext cx="2485664" cy="3180061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A5362241-D360-4341-B421-C79188810AE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187189" y="2649240"/>
            <a:ext cx="2485664" cy="3180061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60EBC095-C7F8-5E47-8F6D-DAE676577F4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3600" y="1292323"/>
            <a:ext cx="10490200" cy="4275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subhead here</a:t>
            </a:r>
          </a:p>
        </p:txBody>
      </p:sp>
      <p:sp>
        <p:nvSpPr>
          <p:cNvPr id="27" name="Text Placeholder 18">
            <a:extLst>
              <a:ext uri="{FF2B5EF4-FFF2-40B4-BE49-F238E27FC236}">
                <a16:creationId xmlns:a16="http://schemas.microsoft.com/office/drawing/2014/main" id="{9014FE69-157F-3845-AA60-171FEC92227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29" name="Picture 28" descr="A picture containing food&#10;&#10;Description automatically generated">
            <a:extLst>
              <a:ext uri="{FF2B5EF4-FFF2-40B4-BE49-F238E27FC236}">
                <a16:creationId xmlns:a16="http://schemas.microsoft.com/office/drawing/2014/main" id="{1D46319A-51C9-1A4C-976D-5DBFF1BD42B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99197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>
            <a:extLst>
              <a:ext uri="{FF2B5EF4-FFF2-40B4-BE49-F238E27FC236}">
                <a16:creationId xmlns:a16="http://schemas.microsoft.com/office/drawing/2014/main" id="{A8A6D4D4-8209-3345-A637-D0217991F8F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4765"/>
            <a:ext cx="10464800" cy="853279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9D86E0A0-467C-334F-8777-52AF34326B1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63600" y="6436788"/>
            <a:ext cx="780925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60EBC095-C7F8-5E47-8F6D-DAE676577F4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3600" y="1292323"/>
            <a:ext cx="10490200" cy="4275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subhead here</a:t>
            </a:r>
          </a:p>
        </p:txBody>
      </p:sp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7F7611B0-AEF8-294E-B9B5-36365DE4D6DE}"/>
              </a:ext>
            </a:extLst>
          </p:cNvPr>
          <p:cNvSpPr/>
          <p:nvPr userDrawn="1"/>
        </p:nvSpPr>
        <p:spPr>
          <a:xfrm>
            <a:off x="863601" y="2405820"/>
            <a:ext cx="2495655" cy="3423481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3D6D5C0-A05A-594C-919D-81D4F19F368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103704" y="2640575"/>
            <a:ext cx="2015449" cy="301175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9B550DAC-D03A-BB46-9632-38951808369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3602" y="1844543"/>
            <a:ext cx="2495652" cy="55110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F7785605-5E70-484D-852E-E62D263C437A}"/>
              </a:ext>
            </a:extLst>
          </p:cNvPr>
          <p:cNvSpPr/>
          <p:nvPr userDrawn="1"/>
        </p:nvSpPr>
        <p:spPr>
          <a:xfrm>
            <a:off x="863602" y="1797051"/>
            <a:ext cx="2495653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36" name="Rounded Rectangle 35">
            <a:extLst>
              <a:ext uri="{FF2B5EF4-FFF2-40B4-BE49-F238E27FC236}">
                <a16:creationId xmlns:a16="http://schemas.microsoft.com/office/drawing/2014/main" id="{E2CAB3FA-A240-1544-9F00-90FED28AEDD4}"/>
              </a:ext>
            </a:extLst>
          </p:cNvPr>
          <p:cNvSpPr/>
          <p:nvPr userDrawn="1"/>
        </p:nvSpPr>
        <p:spPr>
          <a:xfrm>
            <a:off x="8832746" y="2405820"/>
            <a:ext cx="2495655" cy="3423481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85DE3F2F-40CA-514E-A735-725DC8A9858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72849" y="2640575"/>
            <a:ext cx="2015449" cy="301175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AE33E935-9726-AE4A-90AB-D0454CEE6C1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832747" y="1844543"/>
            <a:ext cx="2495652" cy="55110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13D0C71D-BF52-AD40-8CEC-51F5CEFBC8B7}"/>
              </a:ext>
            </a:extLst>
          </p:cNvPr>
          <p:cNvSpPr/>
          <p:nvPr userDrawn="1"/>
        </p:nvSpPr>
        <p:spPr>
          <a:xfrm>
            <a:off x="8832747" y="1797051"/>
            <a:ext cx="2495653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40" name="Rounded Rectangle 39">
            <a:extLst>
              <a:ext uri="{FF2B5EF4-FFF2-40B4-BE49-F238E27FC236}">
                <a16:creationId xmlns:a16="http://schemas.microsoft.com/office/drawing/2014/main" id="{9BD885CE-38EA-414B-871F-D34C618F7798}"/>
              </a:ext>
            </a:extLst>
          </p:cNvPr>
          <p:cNvSpPr/>
          <p:nvPr userDrawn="1"/>
        </p:nvSpPr>
        <p:spPr>
          <a:xfrm>
            <a:off x="6177199" y="2405820"/>
            <a:ext cx="2495655" cy="3423481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5AA70F9F-715E-604A-9F09-1E2D9F0E7728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417302" y="2640575"/>
            <a:ext cx="2015449" cy="301175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B47E00C1-754D-024B-BCE6-1DB1A85C3B7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177201" y="1844543"/>
            <a:ext cx="2495652" cy="55110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2DEAA2F-6124-5345-9CF4-2E835CCDE9C8}"/>
              </a:ext>
            </a:extLst>
          </p:cNvPr>
          <p:cNvSpPr/>
          <p:nvPr userDrawn="1"/>
        </p:nvSpPr>
        <p:spPr>
          <a:xfrm>
            <a:off x="6177200" y="1797051"/>
            <a:ext cx="2495653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49" name="Rounded Rectangle 48">
            <a:extLst>
              <a:ext uri="{FF2B5EF4-FFF2-40B4-BE49-F238E27FC236}">
                <a16:creationId xmlns:a16="http://schemas.microsoft.com/office/drawing/2014/main" id="{FCDCC53D-2C00-D34B-B93B-F91346938C44}"/>
              </a:ext>
            </a:extLst>
          </p:cNvPr>
          <p:cNvSpPr/>
          <p:nvPr userDrawn="1"/>
        </p:nvSpPr>
        <p:spPr>
          <a:xfrm>
            <a:off x="3518793" y="2405820"/>
            <a:ext cx="2495655" cy="3423481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7F8FE733-3114-0E47-BE26-3D8F5F08FEE4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758896" y="2640575"/>
            <a:ext cx="2015449" cy="301175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22B555CE-4667-2F4F-84E2-67951FC1DCE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518794" y="1844543"/>
            <a:ext cx="2495652" cy="55110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FFB30E6E-8CDE-F144-90FA-7D85002BD66E}"/>
              </a:ext>
            </a:extLst>
          </p:cNvPr>
          <p:cNvSpPr/>
          <p:nvPr userDrawn="1"/>
        </p:nvSpPr>
        <p:spPr>
          <a:xfrm>
            <a:off x="3518794" y="1797051"/>
            <a:ext cx="2495653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37854BBA-939F-F844-BEC1-E1C866928E11}"/>
              </a:ext>
            </a:extLst>
          </p:cNvPr>
          <p:cNvCxnSpPr>
            <a:cxnSpLocks/>
          </p:cNvCxnSpPr>
          <p:nvPr userDrawn="1"/>
        </p:nvCxnSpPr>
        <p:spPr>
          <a:xfrm>
            <a:off x="863600" y="2405819"/>
            <a:ext cx="2495653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5EA6D89C-E52A-4141-813F-0D60B78B3973}"/>
              </a:ext>
            </a:extLst>
          </p:cNvPr>
          <p:cNvCxnSpPr>
            <a:cxnSpLocks/>
          </p:cNvCxnSpPr>
          <p:nvPr userDrawn="1"/>
        </p:nvCxnSpPr>
        <p:spPr>
          <a:xfrm>
            <a:off x="3512839" y="2405819"/>
            <a:ext cx="2495653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E5AF21D6-BB36-CB49-AD04-2ECEAEC1CF60}"/>
              </a:ext>
            </a:extLst>
          </p:cNvPr>
          <p:cNvCxnSpPr>
            <a:cxnSpLocks/>
          </p:cNvCxnSpPr>
          <p:nvPr userDrawn="1"/>
        </p:nvCxnSpPr>
        <p:spPr>
          <a:xfrm>
            <a:off x="6180412" y="2405819"/>
            <a:ext cx="2495653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E242FCC4-A226-E142-B41A-468507FFB947}"/>
              </a:ext>
            </a:extLst>
          </p:cNvPr>
          <p:cNvCxnSpPr>
            <a:cxnSpLocks/>
          </p:cNvCxnSpPr>
          <p:nvPr userDrawn="1"/>
        </p:nvCxnSpPr>
        <p:spPr>
          <a:xfrm>
            <a:off x="8841912" y="2405819"/>
            <a:ext cx="2495653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18">
            <a:extLst>
              <a:ext uri="{FF2B5EF4-FFF2-40B4-BE49-F238E27FC236}">
                <a16:creationId xmlns:a16="http://schemas.microsoft.com/office/drawing/2014/main" id="{48762971-3C37-D649-8FF2-3A25E28ECA2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35" name="Picture 34" descr="A picture containing food&#10;&#10;Description automatically generated">
            <a:extLst>
              <a:ext uri="{FF2B5EF4-FFF2-40B4-BE49-F238E27FC236}">
                <a16:creationId xmlns:a16="http://schemas.microsoft.com/office/drawing/2014/main" id="{12D49F86-BDDB-DD43-9209-80C4DF2FBE9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34862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Layout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60650"/>
            <a:ext cx="11035965" cy="12969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463E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98275948"/>
      </p:ext>
    </p:extLst>
  </p:cSld>
  <p:clrMapOvr>
    <a:masterClrMapping/>
  </p:clrMapOvr>
  <p:transition>
    <p:wipe dir="d"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4EF4E8F0-E43E-A74C-91E1-6E1FD8D1E7D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863600" y="404765"/>
            <a:ext cx="10464800" cy="853279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2499861F-00E2-1148-B38A-E12B8B2BF820}"/>
              </a:ext>
            </a:extLst>
          </p:cNvPr>
          <p:cNvSpPr/>
          <p:nvPr userDrawn="1"/>
        </p:nvSpPr>
        <p:spPr>
          <a:xfrm>
            <a:off x="863600" y="2405820"/>
            <a:ext cx="5052611" cy="3423481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1D7FF828-A2C4-8D4F-BCBA-341C968335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10349" y="2640575"/>
            <a:ext cx="4359116" cy="301175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042DEF93-380D-3B47-9E80-5662FED8C0B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3602" y="1844543"/>
            <a:ext cx="5052604" cy="55110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</a:t>
            </a:r>
          </a:p>
          <a:p>
            <a:pPr lvl="0"/>
            <a:r>
              <a:rPr lang="en-US"/>
              <a:t>edit text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A20C2B7-C762-0745-A0C1-322189BEDABC}"/>
              </a:ext>
            </a:extLst>
          </p:cNvPr>
          <p:cNvSpPr/>
          <p:nvPr userDrawn="1"/>
        </p:nvSpPr>
        <p:spPr>
          <a:xfrm>
            <a:off x="863601" y="1797051"/>
            <a:ext cx="5052607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BA8C81C5-38CC-1747-88CF-619160A4AA6D}"/>
              </a:ext>
            </a:extLst>
          </p:cNvPr>
          <p:cNvCxnSpPr>
            <a:cxnSpLocks/>
          </p:cNvCxnSpPr>
          <p:nvPr userDrawn="1"/>
        </p:nvCxnSpPr>
        <p:spPr>
          <a:xfrm>
            <a:off x="863601" y="2405819"/>
            <a:ext cx="5052607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AF47650E-BC51-E04D-931C-6D33E554D71D}"/>
              </a:ext>
            </a:extLst>
          </p:cNvPr>
          <p:cNvSpPr/>
          <p:nvPr userDrawn="1"/>
        </p:nvSpPr>
        <p:spPr>
          <a:xfrm>
            <a:off x="6275789" y="2405820"/>
            <a:ext cx="5052611" cy="3423481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7E282F56-A7E9-B44A-98D8-8D640527D4D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622538" y="2640575"/>
            <a:ext cx="4359116" cy="301175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64F90CFB-8BA0-C64A-AC81-45A7C7333E5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75791" y="1844543"/>
            <a:ext cx="5052604" cy="55110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DD05F69A-30E4-8D4C-9B3D-829782E15F84}"/>
              </a:ext>
            </a:extLst>
          </p:cNvPr>
          <p:cNvSpPr/>
          <p:nvPr userDrawn="1"/>
        </p:nvSpPr>
        <p:spPr>
          <a:xfrm>
            <a:off x="6275790" y="1797051"/>
            <a:ext cx="5052607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A747264E-E94F-9044-B27E-E74ED1400239}"/>
              </a:ext>
            </a:extLst>
          </p:cNvPr>
          <p:cNvCxnSpPr>
            <a:cxnSpLocks/>
          </p:cNvCxnSpPr>
          <p:nvPr userDrawn="1"/>
        </p:nvCxnSpPr>
        <p:spPr>
          <a:xfrm>
            <a:off x="6275790" y="2405819"/>
            <a:ext cx="5052607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 Placeholder 18">
            <a:extLst>
              <a:ext uri="{FF2B5EF4-FFF2-40B4-BE49-F238E27FC236}">
                <a16:creationId xmlns:a16="http://schemas.microsoft.com/office/drawing/2014/main" id="{6E4D2569-7DD1-1241-B244-4BA0A18AC9D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6436788"/>
            <a:ext cx="7940876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17" name="Text Placeholder 18">
            <a:extLst>
              <a:ext uri="{FF2B5EF4-FFF2-40B4-BE49-F238E27FC236}">
                <a16:creationId xmlns:a16="http://schemas.microsoft.com/office/drawing/2014/main" id="{411BDA96-5809-5341-BAD3-9F7BB3E2FBF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D2395642-DBA4-1140-9D7A-1389F8A55EF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3600" y="1292323"/>
            <a:ext cx="10490200" cy="4275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subhead here</a:t>
            </a:r>
          </a:p>
        </p:txBody>
      </p:sp>
      <p:pic>
        <p:nvPicPr>
          <p:cNvPr id="26" name="Picture 25" descr="A picture containing food&#10;&#10;Description automatically generated">
            <a:extLst>
              <a:ext uri="{FF2B5EF4-FFF2-40B4-BE49-F238E27FC236}">
                <a16:creationId xmlns:a16="http://schemas.microsoft.com/office/drawing/2014/main" id="{1F5EA692-C4E3-514C-98CC-90CE83146ED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33870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>
            <a:extLst>
              <a:ext uri="{FF2B5EF4-FFF2-40B4-BE49-F238E27FC236}">
                <a16:creationId xmlns:a16="http://schemas.microsoft.com/office/drawing/2014/main" id="{68FC3FB0-CF43-D541-A532-3CFC6D2DAAE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4766"/>
            <a:ext cx="10464800" cy="853277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DDAF43F-AFA5-9F49-9746-FED41DCE2F20}"/>
              </a:ext>
            </a:extLst>
          </p:cNvPr>
          <p:cNvSpPr>
            <a:spLocks noGrp="1"/>
          </p:cNvSpPr>
          <p:nvPr userDrawn="1">
            <p:ph type="body" sz="quarter" idx="13"/>
          </p:nvPr>
        </p:nvSpPr>
        <p:spPr>
          <a:xfrm>
            <a:off x="1186871" y="2640575"/>
            <a:ext cx="2713567" cy="301175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65E05213-E9A3-5A4D-A76C-3CC50B0AB28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3602" y="1844543"/>
            <a:ext cx="3360103" cy="55110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60417850-FA45-B549-AD14-868BE1ED9F18}"/>
              </a:ext>
            </a:extLst>
          </p:cNvPr>
          <p:cNvSpPr/>
          <p:nvPr userDrawn="1"/>
        </p:nvSpPr>
        <p:spPr>
          <a:xfrm>
            <a:off x="863601" y="1797051"/>
            <a:ext cx="3360104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6D4DA29B-4AE0-4D46-9E0C-DE58C9059C0C}"/>
              </a:ext>
            </a:extLst>
          </p:cNvPr>
          <p:cNvCxnSpPr>
            <a:cxnSpLocks/>
          </p:cNvCxnSpPr>
          <p:nvPr userDrawn="1"/>
        </p:nvCxnSpPr>
        <p:spPr>
          <a:xfrm>
            <a:off x="863600" y="2405819"/>
            <a:ext cx="3360104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9">
            <a:extLst>
              <a:ext uri="{FF2B5EF4-FFF2-40B4-BE49-F238E27FC236}">
                <a16:creationId xmlns:a16="http://schemas.microsoft.com/office/drawing/2014/main" id="{6BE9C0CC-593B-CC48-A2EF-0A2E3483969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52803" y="2640575"/>
            <a:ext cx="2713567" cy="301175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A6F7B96B-AC5A-3348-9FAC-C9EC6B90D91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29534" y="1844543"/>
            <a:ext cx="3360103" cy="55110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2AA3D2D-FAB7-D648-A95A-8E8FB2EEA1AF}"/>
              </a:ext>
            </a:extLst>
          </p:cNvPr>
          <p:cNvSpPr/>
          <p:nvPr userDrawn="1"/>
        </p:nvSpPr>
        <p:spPr>
          <a:xfrm>
            <a:off x="4429533" y="1797051"/>
            <a:ext cx="3360104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205B53C4-6BCC-9F41-8DC6-C1C441D5CEFF}"/>
              </a:ext>
            </a:extLst>
          </p:cNvPr>
          <p:cNvCxnSpPr>
            <a:cxnSpLocks/>
          </p:cNvCxnSpPr>
          <p:nvPr userDrawn="1"/>
        </p:nvCxnSpPr>
        <p:spPr>
          <a:xfrm>
            <a:off x="4429532" y="2405819"/>
            <a:ext cx="3360104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 Placeholder 9">
            <a:extLst>
              <a:ext uri="{FF2B5EF4-FFF2-40B4-BE49-F238E27FC236}">
                <a16:creationId xmlns:a16="http://schemas.microsoft.com/office/drawing/2014/main" id="{C6527C99-B704-3948-A8EB-E762CC3DC87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300401" y="2640575"/>
            <a:ext cx="2713567" cy="301175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1759688E-CD1B-B540-B666-B135DBCD6DA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977131" y="1844543"/>
            <a:ext cx="3360103" cy="55110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</a:t>
            </a:r>
          </a:p>
          <a:p>
            <a:pPr lvl="0"/>
            <a:r>
              <a:rPr lang="en-US"/>
              <a:t>edit text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CBBB20A2-9C1B-9B4E-90FE-1034AF294ECD}"/>
              </a:ext>
            </a:extLst>
          </p:cNvPr>
          <p:cNvSpPr/>
          <p:nvPr userDrawn="1"/>
        </p:nvSpPr>
        <p:spPr>
          <a:xfrm>
            <a:off x="7977131" y="1797051"/>
            <a:ext cx="3360104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B5FE0ADB-0F95-C24C-98B6-0975C8F64CD4}"/>
              </a:ext>
            </a:extLst>
          </p:cNvPr>
          <p:cNvCxnSpPr>
            <a:cxnSpLocks/>
          </p:cNvCxnSpPr>
          <p:nvPr userDrawn="1"/>
        </p:nvCxnSpPr>
        <p:spPr>
          <a:xfrm>
            <a:off x="7977129" y="2405819"/>
            <a:ext cx="3360104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 Placeholder 18">
            <a:extLst>
              <a:ext uri="{FF2B5EF4-FFF2-40B4-BE49-F238E27FC236}">
                <a16:creationId xmlns:a16="http://schemas.microsoft.com/office/drawing/2014/main" id="{9F3F5BE7-6635-F941-8B5E-750365C7E37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63600" y="6436788"/>
            <a:ext cx="7886861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22" name="Text Placeholder 18">
            <a:extLst>
              <a:ext uri="{FF2B5EF4-FFF2-40B4-BE49-F238E27FC236}">
                <a16:creationId xmlns:a16="http://schemas.microsoft.com/office/drawing/2014/main" id="{318FA5D8-1B42-C544-B87A-65D4F2C26BB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26" name="Picture 25" descr="A picture containing food&#10;&#10;Description automatically generated">
            <a:extLst>
              <a:ext uri="{FF2B5EF4-FFF2-40B4-BE49-F238E27FC236}">
                <a16:creationId xmlns:a16="http://schemas.microsoft.com/office/drawing/2014/main" id="{83283C0E-634B-F243-BF1E-CA70CA36885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13561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>
            <a:extLst>
              <a:ext uri="{FF2B5EF4-FFF2-40B4-BE49-F238E27FC236}">
                <a16:creationId xmlns:a16="http://schemas.microsoft.com/office/drawing/2014/main" id="{9670A263-B582-FE40-BD7E-C4DCD3E0B74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32" name="Rounded Rectangle 31">
            <a:extLst>
              <a:ext uri="{FF2B5EF4-FFF2-40B4-BE49-F238E27FC236}">
                <a16:creationId xmlns:a16="http://schemas.microsoft.com/office/drawing/2014/main" id="{F9563CBF-5735-6447-A93D-0D4AFA601026}"/>
              </a:ext>
            </a:extLst>
          </p:cNvPr>
          <p:cNvSpPr/>
          <p:nvPr userDrawn="1"/>
        </p:nvSpPr>
        <p:spPr>
          <a:xfrm>
            <a:off x="863600" y="2283870"/>
            <a:ext cx="5052611" cy="1428733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33" name="Text Placeholder 9">
            <a:extLst>
              <a:ext uri="{FF2B5EF4-FFF2-40B4-BE49-F238E27FC236}">
                <a16:creationId xmlns:a16="http://schemas.microsoft.com/office/drawing/2014/main" id="{249D3357-0AE1-4F41-BAB8-A10DCDD2B4D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210349" y="2450660"/>
            <a:ext cx="4359116" cy="1058816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1046F5D6-5875-AD43-8F9B-656508FD143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63602" y="1844543"/>
            <a:ext cx="5052604" cy="39448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8C20629-DF0F-2A4C-93E4-004CED5DE1B0}"/>
              </a:ext>
            </a:extLst>
          </p:cNvPr>
          <p:cNvSpPr/>
          <p:nvPr userDrawn="1"/>
        </p:nvSpPr>
        <p:spPr>
          <a:xfrm>
            <a:off x="863601" y="1797051"/>
            <a:ext cx="5052607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C8019043-5300-8C49-8542-A1B1C5350662}"/>
              </a:ext>
            </a:extLst>
          </p:cNvPr>
          <p:cNvCxnSpPr>
            <a:cxnSpLocks/>
          </p:cNvCxnSpPr>
          <p:nvPr userDrawn="1"/>
        </p:nvCxnSpPr>
        <p:spPr>
          <a:xfrm>
            <a:off x="863601" y="2261447"/>
            <a:ext cx="5052607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ounded Rectangle 36">
            <a:extLst>
              <a:ext uri="{FF2B5EF4-FFF2-40B4-BE49-F238E27FC236}">
                <a16:creationId xmlns:a16="http://schemas.microsoft.com/office/drawing/2014/main" id="{4EB59C99-B5FF-F046-94EF-7C45AB324076}"/>
              </a:ext>
            </a:extLst>
          </p:cNvPr>
          <p:cNvSpPr/>
          <p:nvPr userDrawn="1"/>
        </p:nvSpPr>
        <p:spPr>
          <a:xfrm>
            <a:off x="6275789" y="2283870"/>
            <a:ext cx="5052611" cy="1428733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26494BA1-9106-434A-B9C6-4051B09B390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622538" y="2450660"/>
            <a:ext cx="4359116" cy="1058816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139197" marR="0" lvl="0" indent="-139197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80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C28240EA-EBCE-F842-ACD1-3E8EBFC37CB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75791" y="1844543"/>
            <a:ext cx="5052604" cy="39448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167AAC37-D8DE-444C-A917-ECCD6FF197DB}"/>
              </a:ext>
            </a:extLst>
          </p:cNvPr>
          <p:cNvSpPr/>
          <p:nvPr userDrawn="1"/>
        </p:nvSpPr>
        <p:spPr>
          <a:xfrm>
            <a:off x="6275790" y="1797051"/>
            <a:ext cx="5052607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A16DD487-CF6E-F046-B48E-0AADA528410A}"/>
              </a:ext>
            </a:extLst>
          </p:cNvPr>
          <p:cNvCxnSpPr>
            <a:cxnSpLocks/>
          </p:cNvCxnSpPr>
          <p:nvPr userDrawn="1"/>
        </p:nvCxnSpPr>
        <p:spPr>
          <a:xfrm>
            <a:off x="6275790" y="2261447"/>
            <a:ext cx="5052607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ounded Rectangle 41">
            <a:extLst>
              <a:ext uri="{FF2B5EF4-FFF2-40B4-BE49-F238E27FC236}">
                <a16:creationId xmlns:a16="http://schemas.microsoft.com/office/drawing/2014/main" id="{68448A1C-51A0-B949-82E7-7CC2B1BC1999}"/>
              </a:ext>
            </a:extLst>
          </p:cNvPr>
          <p:cNvSpPr/>
          <p:nvPr userDrawn="1"/>
        </p:nvSpPr>
        <p:spPr>
          <a:xfrm>
            <a:off x="863600" y="4402880"/>
            <a:ext cx="5052611" cy="1428733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43" name="Text Placeholder 9">
            <a:extLst>
              <a:ext uri="{FF2B5EF4-FFF2-40B4-BE49-F238E27FC236}">
                <a16:creationId xmlns:a16="http://schemas.microsoft.com/office/drawing/2014/main" id="{EB7BFD81-9BE9-BF4A-B728-5CC78FB36F9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210349" y="4569671"/>
            <a:ext cx="4359116" cy="1058816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46FD692E-0D7D-4846-B050-98C3F5840F0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63602" y="3963554"/>
            <a:ext cx="5052604" cy="39448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CBBEF0A7-763B-B940-AE76-BDA098AAE936}"/>
              </a:ext>
            </a:extLst>
          </p:cNvPr>
          <p:cNvSpPr/>
          <p:nvPr userDrawn="1"/>
        </p:nvSpPr>
        <p:spPr>
          <a:xfrm>
            <a:off x="863601" y="3916062"/>
            <a:ext cx="5052607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8A771312-DCC6-B94F-B004-8E9DE59F70C9}"/>
              </a:ext>
            </a:extLst>
          </p:cNvPr>
          <p:cNvCxnSpPr>
            <a:cxnSpLocks/>
          </p:cNvCxnSpPr>
          <p:nvPr userDrawn="1"/>
        </p:nvCxnSpPr>
        <p:spPr>
          <a:xfrm>
            <a:off x="863601" y="4380457"/>
            <a:ext cx="5052607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ounded Rectangle 46">
            <a:extLst>
              <a:ext uri="{FF2B5EF4-FFF2-40B4-BE49-F238E27FC236}">
                <a16:creationId xmlns:a16="http://schemas.microsoft.com/office/drawing/2014/main" id="{6217734D-41E6-EC49-81D6-7F6E340EF91F}"/>
              </a:ext>
            </a:extLst>
          </p:cNvPr>
          <p:cNvSpPr/>
          <p:nvPr userDrawn="1"/>
        </p:nvSpPr>
        <p:spPr>
          <a:xfrm>
            <a:off x="6275789" y="4402880"/>
            <a:ext cx="5052611" cy="1428733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61F89409-BFC5-464A-B894-FE92CD3B1CF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622538" y="4569671"/>
            <a:ext cx="4359116" cy="1058816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C156DF22-B940-3D43-A980-6CF14EFE209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75791" y="3963554"/>
            <a:ext cx="5052604" cy="39448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BBAA0C18-140E-8C41-8199-68406BFCB914}"/>
              </a:ext>
            </a:extLst>
          </p:cNvPr>
          <p:cNvSpPr/>
          <p:nvPr userDrawn="1"/>
        </p:nvSpPr>
        <p:spPr>
          <a:xfrm>
            <a:off x="6275790" y="3916062"/>
            <a:ext cx="5052607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77396826-4C94-F049-9A3C-722635B60709}"/>
              </a:ext>
            </a:extLst>
          </p:cNvPr>
          <p:cNvCxnSpPr>
            <a:cxnSpLocks/>
          </p:cNvCxnSpPr>
          <p:nvPr userDrawn="1"/>
        </p:nvCxnSpPr>
        <p:spPr>
          <a:xfrm>
            <a:off x="6275790" y="4380457"/>
            <a:ext cx="5052607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 Placeholder 8">
            <a:extLst>
              <a:ext uri="{FF2B5EF4-FFF2-40B4-BE49-F238E27FC236}">
                <a16:creationId xmlns:a16="http://schemas.microsoft.com/office/drawing/2014/main" id="{0D8DA89C-76CE-2D45-8979-C0995129E9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1292323"/>
            <a:ext cx="10490200" cy="4275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subhead here</a:t>
            </a:r>
          </a:p>
        </p:txBody>
      </p:sp>
      <p:sp>
        <p:nvSpPr>
          <p:cNvPr id="53" name="Text Placeholder 18">
            <a:extLst>
              <a:ext uri="{FF2B5EF4-FFF2-40B4-BE49-F238E27FC236}">
                <a16:creationId xmlns:a16="http://schemas.microsoft.com/office/drawing/2014/main" id="{1DA8304D-2E06-A54A-B583-E0B7B73052B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436788"/>
            <a:ext cx="7948592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FD1C421C-78F1-4448-A619-55E0DC24C1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4766"/>
            <a:ext cx="10464800" cy="853277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9" name="Text Placeholder 18">
            <a:extLst>
              <a:ext uri="{FF2B5EF4-FFF2-40B4-BE49-F238E27FC236}">
                <a16:creationId xmlns:a16="http://schemas.microsoft.com/office/drawing/2014/main" id="{A563FB27-CF07-3B44-840A-2AE6E576920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31" name="Picture 30" descr="A picture containing food&#10;&#10;Description automatically generated">
            <a:extLst>
              <a:ext uri="{FF2B5EF4-FFF2-40B4-BE49-F238E27FC236}">
                <a16:creationId xmlns:a16="http://schemas.microsoft.com/office/drawing/2014/main" id="{58538397-5740-5641-9179-53714A648B6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6462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5FAF84E0-0949-F840-A9B4-1521ADCBC1B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2" name="Text Placeholder 8">
            <a:extLst>
              <a:ext uri="{FF2B5EF4-FFF2-40B4-BE49-F238E27FC236}">
                <a16:creationId xmlns:a16="http://schemas.microsoft.com/office/drawing/2014/main" id="{0D8DA89C-76CE-2D45-8979-C0995129E9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1292323"/>
            <a:ext cx="10490200" cy="4275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subhead here</a:t>
            </a:r>
          </a:p>
        </p:txBody>
      </p:sp>
      <p:sp>
        <p:nvSpPr>
          <p:cNvPr id="53" name="Text Placeholder 18">
            <a:extLst>
              <a:ext uri="{FF2B5EF4-FFF2-40B4-BE49-F238E27FC236}">
                <a16:creationId xmlns:a16="http://schemas.microsoft.com/office/drawing/2014/main" id="{1DA8304D-2E06-A54A-B583-E0B7B73052B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436788"/>
            <a:ext cx="7956309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7A87D5D9-86A7-8849-914E-249E506784C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63602" y="2403507"/>
            <a:ext cx="5052605" cy="1359892"/>
          </a:xfrm>
          <a:prstGeom prst="rect">
            <a:avLst/>
          </a:prstGeom>
        </p:spPr>
        <p:txBody>
          <a:bodyPr lIns="0" tIns="0" rIns="0" bIns="0" anchor="t"/>
          <a:lstStyle>
            <a:lvl1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A680962B-FBC1-9647-B4A1-88289458B73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63602" y="1892829"/>
            <a:ext cx="5052605" cy="407573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Master text styles Edit Master text styles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Master text styles</a:t>
            </a:r>
          </a:p>
        </p:txBody>
      </p:sp>
      <p:sp>
        <p:nvSpPr>
          <p:cNvPr id="61" name="Text Placeholder 9">
            <a:extLst>
              <a:ext uri="{FF2B5EF4-FFF2-40B4-BE49-F238E27FC236}">
                <a16:creationId xmlns:a16="http://schemas.microsoft.com/office/drawing/2014/main" id="{FCDFBAC7-F0E7-DA46-91A5-892B642C9469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262915" y="2403507"/>
            <a:ext cx="5052605" cy="1359892"/>
          </a:xfrm>
          <a:prstGeom prst="rect">
            <a:avLst/>
          </a:prstGeom>
        </p:spPr>
        <p:txBody>
          <a:bodyPr lIns="0" tIns="0" rIns="0" bIns="0" anchor="t"/>
          <a:lstStyle>
            <a:lvl1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</a:t>
            </a:r>
            <a:r>
              <a:rPr lang="en-US" err="1"/>
              <a:t>leve</a:t>
            </a:r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7B136980-B961-E344-B037-CE91E072CEA1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262915" y="1892829"/>
            <a:ext cx="5052605" cy="407573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Master text styles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1CC64DD4-9725-AC4B-AF81-20A94999D28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63602" y="4364829"/>
            <a:ext cx="5052605" cy="1359892"/>
          </a:xfrm>
          <a:prstGeom prst="rect">
            <a:avLst/>
          </a:prstGeom>
        </p:spPr>
        <p:txBody>
          <a:bodyPr lIns="0" tIns="0" rIns="0" bIns="0" anchor="t"/>
          <a:lstStyle>
            <a:lvl1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4" name="Text Placeholder 9">
            <a:extLst>
              <a:ext uri="{FF2B5EF4-FFF2-40B4-BE49-F238E27FC236}">
                <a16:creationId xmlns:a16="http://schemas.microsoft.com/office/drawing/2014/main" id="{A935D7D4-BBC8-E446-8C28-6EB0C64BFDE7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863602" y="3954283"/>
            <a:ext cx="5052605" cy="407573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Master text styles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39802B60-38D9-854E-B65D-91DC64263CA0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262915" y="4364829"/>
            <a:ext cx="5052605" cy="1359892"/>
          </a:xfrm>
          <a:prstGeom prst="rect">
            <a:avLst/>
          </a:prstGeom>
        </p:spPr>
        <p:txBody>
          <a:bodyPr lIns="0" tIns="0" rIns="0" bIns="0" anchor="t"/>
          <a:lstStyle>
            <a:lvl1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555417B1-BB88-4E49-8E03-E3C2C285214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62915" y="3854151"/>
            <a:ext cx="5052605" cy="407573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Master text styles Edit Master text styles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Master text styles</a:t>
            </a:r>
          </a:p>
        </p:txBody>
      </p:sp>
      <p:sp>
        <p:nvSpPr>
          <p:cNvPr id="67" name="Title 1">
            <a:extLst>
              <a:ext uri="{FF2B5EF4-FFF2-40B4-BE49-F238E27FC236}">
                <a16:creationId xmlns:a16="http://schemas.microsoft.com/office/drawing/2014/main" id="{0E4BF7D6-5186-EA48-A17C-60D398151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4766"/>
            <a:ext cx="10464800" cy="853277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18">
            <a:extLst>
              <a:ext uri="{FF2B5EF4-FFF2-40B4-BE49-F238E27FC236}">
                <a16:creationId xmlns:a16="http://schemas.microsoft.com/office/drawing/2014/main" id="{D13F3180-DADD-1F4D-855F-78F1B16F2DC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19" name="Picture 18" descr="A picture containing food&#10;&#10;Description automatically generated">
            <a:extLst>
              <a:ext uri="{FF2B5EF4-FFF2-40B4-BE49-F238E27FC236}">
                <a16:creationId xmlns:a16="http://schemas.microsoft.com/office/drawing/2014/main" id="{96E5E451-2BD1-3A49-8DED-E9FA81C45A2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02217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125FB098-55A4-BA46-A9E1-D2D8D0008DE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863606" y="1532800"/>
            <a:ext cx="5052604" cy="758392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1D7FF828-A2C4-8D4F-BCBA-341C968335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3601" y="2456463"/>
            <a:ext cx="5052608" cy="337283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EDABBE04-DDB7-0142-8FC1-5677E57D50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6436788"/>
            <a:ext cx="7763397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9" name="Text Placeholder 18">
            <a:extLst>
              <a:ext uri="{FF2B5EF4-FFF2-40B4-BE49-F238E27FC236}">
                <a16:creationId xmlns:a16="http://schemas.microsoft.com/office/drawing/2014/main" id="{8C2069FC-F663-9B4B-B495-5C21B3A2E07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12" name="Picture 11" descr="A picture containing food&#10;&#10;Description automatically generated">
            <a:extLst>
              <a:ext uri="{FF2B5EF4-FFF2-40B4-BE49-F238E27FC236}">
                <a16:creationId xmlns:a16="http://schemas.microsoft.com/office/drawing/2014/main" id="{E7DF1266-DFF3-1F47-9AF9-C4DB6C6FEA3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346240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6044C795-8967-2545-9806-79E6156E734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863606" y="1533211"/>
            <a:ext cx="3360103" cy="758392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1D7FF828-A2C4-8D4F-BCBA-341C968335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3603" y="2456463"/>
            <a:ext cx="3360107" cy="337283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EDABBE04-DDB7-0142-8FC1-5677E57D50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6436788"/>
            <a:ext cx="779426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9" name="Text Placeholder 18">
            <a:extLst>
              <a:ext uri="{FF2B5EF4-FFF2-40B4-BE49-F238E27FC236}">
                <a16:creationId xmlns:a16="http://schemas.microsoft.com/office/drawing/2014/main" id="{00E74B1D-D901-E84E-9EC7-49DF125A078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12" name="Picture 11" descr="A picture containing food&#10;&#10;Description automatically generated">
            <a:extLst>
              <a:ext uri="{FF2B5EF4-FFF2-40B4-BE49-F238E27FC236}">
                <a16:creationId xmlns:a16="http://schemas.microsoft.com/office/drawing/2014/main" id="{993FBC66-A669-A64C-8C35-852C386C60C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61410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696200C-4F23-AB48-98AA-F1C3718B478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7968299" y="1524031"/>
            <a:ext cx="3360103" cy="758392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1D7FF828-A2C4-8D4F-BCBA-341C968335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968299" y="2456463"/>
            <a:ext cx="3360107" cy="337283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EDABBE04-DDB7-0142-8FC1-5677E57D50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6436788"/>
            <a:ext cx="7801980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9" name="Text Placeholder 18">
            <a:extLst>
              <a:ext uri="{FF2B5EF4-FFF2-40B4-BE49-F238E27FC236}">
                <a16:creationId xmlns:a16="http://schemas.microsoft.com/office/drawing/2014/main" id="{24D5D6F4-BFDF-DB45-BE4F-24A1172D259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12" name="Picture 11" descr="A picture containing food&#10;&#10;Description automatically generated">
            <a:extLst>
              <a:ext uri="{FF2B5EF4-FFF2-40B4-BE49-F238E27FC236}">
                <a16:creationId xmlns:a16="http://schemas.microsoft.com/office/drawing/2014/main" id="{4741AF9A-9588-8B45-A10C-A133D87E9D6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60088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4E2EE154-1D04-A944-85D3-3DCC3AF4DBE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A53D7EC-8354-E14A-A7FA-81AD863786A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72082" y="2456463"/>
            <a:ext cx="5050671" cy="337283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BCFA1914-78AE-134E-8209-EA026A7331B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6436788"/>
            <a:ext cx="7832845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CBD0110D-75B4-F04E-931A-5176A6DAA0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77728" y="1523420"/>
            <a:ext cx="5050672" cy="758392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D3849F72-96AA-DC45-B908-A4B8D4257A5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65C2E079-38A2-634C-ADF9-5C40352E90D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63601" y="1797052"/>
            <a:ext cx="5052609" cy="4032249"/>
          </a:xfrm>
          <a:prstGeom prst="rect">
            <a:avLst/>
          </a:prstGeom>
        </p:spPr>
        <p:txBody>
          <a:bodyPr lIns="0" tIns="0" rIns="0" bIns="0" anchor="ctr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6" name="Picture 15" descr="A picture containing food&#10;&#10;Description automatically generated">
            <a:extLst>
              <a:ext uri="{FF2B5EF4-FFF2-40B4-BE49-F238E27FC236}">
                <a16:creationId xmlns:a16="http://schemas.microsoft.com/office/drawing/2014/main" id="{56622307-1967-9547-BEF7-EFEE04D4B69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87345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>
            <a:extLst>
              <a:ext uri="{FF2B5EF4-FFF2-40B4-BE49-F238E27FC236}">
                <a16:creationId xmlns:a16="http://schemas.microsoft.com/office/drawing/2014/main" id="{E982B460-7034-244F-8EB8-CD53BC66BEF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863600" y="2640647"/>
            <a:ext cx="5052605" cy="1576708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Aft>
                <a:spcPts val="800"/>
              </a:spcAft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 Click </a:t>
            </a:r>
            <a:br>
              <a:rPr lang="en-US"/>
            </a:br>
            <a:r>
              <a:rPr lang="en-US"/>
              <a:t>to edit Master title style Click to edit Master title style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E45EC2D0-2066-7C46-B4A9-56BE033DFDC7}"/>
              </a:ext>
            </a:extLst>
          </p:cNvPr>
          <p:cNvSpPr/>
          <p:nvPr userDrawn="1"/>
        </p:nvSpPr>
        <p:spPr>
          <a:xfrm>
            <a:off x="6275789" y="1348510"/>
            <a:ext cx="5052611" cy="1043484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7D74F64-410F-C140-BEF2-50EB28C1F10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622538" y="1504953"/>
            <a:ext cx="4359116" cy="730595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534475F-C46F-B44B-A7AB-22F233A73D4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75791" y="909183"/>
            <a:ext cx="5052604" cy="39448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71F2941-1391-9F41-9B05-2564737D1CA5}"/>
              </a:ext>
            </a:extLst>
          </p:cNvPr>
          <p:cNvSpPr/>
          <p:nvPr userDrawn="1"/>
        </p:nvSpPr>
        <p:spPr>
          <a:xfrm>
            <a:off x="6275790" y="861691"/>
            <a:ext cx="5052607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9897074-7CD0-7547-BD7C-BD20A83DACB8}"/>
              </a:ext>
            </a:extLst>
          </p:cNvPr>
          <p:cNvCxnSpPr>
            <a:cxnSpLocks/>
          </p:cNvCxnSpPr>
          <p:nvPr userDrawn="1"/>
        </p:nvCxnSpPr>
        <p:spPr>
          <a:xfrm>
            <a:off x="6275790" y="1326087"/>
            <a:ext cx="5052607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ounded Rectangle 23">
            <a:extLst>
              <a:ext uri="{FF2B5EF4-FFF2-40B4-BE49-F238E27FC236}">
                <a16:creationId xmlns:a16="http://schemas.microsoft.com/office/drawing/2014/main" id="{543C7861-043E-244B-A15E-3DF348BA7133}"/>
              </a:ext>
            </a:extLst>
          </p:cNvPr>
          <p:cNvSpPr/>
          <p:nvPr userDrawn="1"/>
        </p:nvSpPr>
        <p:spPr>
          <a:xfrm>
            <a:off x="6275789" y="3062723"/>
            <a:ext cx="5052611" cy="1043484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1F6C341A-8889-374B-BFD0-8BFB09C03A6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622538" y="3219167"/>
            <a:ext cx="4359116" cy="730595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8EB5CC2A-8814-AD4C-94A8-AAB9E739A57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75791" y="2623397"/>
            <a:ext cx="5052604" cy="39448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E9A1A5C2-4744-F145-A9EE-D5FFC29D9377}"/>
              </a:ext>
            </a:extLst>
          </p:cNvPr>
          <p:cNvSpPr/>
          <p:nvPr userDrawn="1"/>
        </p:nvSpPr>
        <p:spPr>
          <a:xfrm>
            <a:off x="6275790" y="2575905"/>
            <a:ext cx="5052607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8549CC34-F23B-FB44-8393-64C036694B05}"/>
              </a:ext>
            </a:extLst>
          </p:cNvPr>
          <p:cNvCxnSpPr>
            <a:cxnSpLocks/>
          </p:cNvCxnSpPr>
          <p:nvPr userDrawn="1"/>
        </p:nvCxnSpPr>
        <p:spPr>
          <a:xfrm>
            <a:off x="6275790" y="3040300"/>
            <a:ext cx="5052607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67D46D13-1898-BE48-8476-8DDF1462B5E0}"/>
              </a:ext>
            </a:extLst>
          </p:cNvPr>
          <p:cNvSpPr/>
          <p:nvPr userDrawn="1"/>
        </p:nvSpPr>
        <p:spPr>
          <a:xfrm>
            <a:off x="6275789" y="4776937"/>
            <a:ext cx="5052611" cy="1043484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1D5DF601-A9E2-AF4C-9435-B4DAF08F9F0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622538" y="4933380"/>
            <a:ext cx="4359116" cy="730595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604AE032-B3A3-C442-B8DC-8F7A485F12A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75791" y="4337610"/>
            <a:ext cx="5052604" cy="39448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F4874F8-D35C-B34B-AB7A-97BE3CD53502}"/>
              </a:ext>
            </a:extLst>
          </p:cNvPr>
          <p:cNvSpPr/>
          <p:nvPr userDrawn="1"/>
        </p:nvSpPr>
        <p:spPr>
          <a:xfrm>
            <a:off x="6275790" y="4290118"/>
            <a:ext cx="5052607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DE1A1E44-7E0A-484E-AFB5-1E7B861E02F7}"/>
              </a:ext>
            </a:extLst>
          </p:cNvPr>
          <p:cNvCxnSpPr>
            <a:cxnSpLocks/>
          </p:cNvCxnSpPr>
          <p:nvPr userDrawn="1"/>
        </p:nvCxnSpPr>
        <p:spPr>
          <a:xfrm>
            <a:off x="6275790" y="4754513"/>
            <a:ext cx="5052607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 Placeholder 18">
            <a:extLst>
              <a:ext uri="{FF2B5EF4-FFF2-40B4-BE49-F238E27FC236}">
                <a16:creationId xmlns:a16="http://schemas.microsoft.com/office/drawing/2014/main" id="{5F351E5A-10FB-0542-BE75-9A4B4820BFA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643678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21" name="Text Placeholder 18">
            <a:extLst>
              <a:ext uri="{FF2B5EF4-FFF2-40B4-BE49-F238E27FC236}">
                <a16:creationId xmlns:a16="http://schemas.microsoft.com/office/drawing/2014/main" id="{FAEE7216-519C-264E-BC91-04B7F295070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25" name="Picture 24" descr="A picture containing food&#10;&#10;Description automatically generated">
            <a:extLst>
              <a:ext uri="{FF2B5EF4-FFF2-40B4-BE49-F238E27FC236}">
                <a16:creationId xmlns:a16="http://schemas.microsoft.com/office/drawing/2014/main" id="{8D35097E-1DE5-7C4C-A9B3-3A1800DAFB2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82010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2" y="274638"/>
            <a:ext cx="11127409" cy="927999"/>
          </a:xfrm>
          <a:prstGeom prst="rect">
            <a:avLst/>
          </a:prstGeom>
        </p:spPr>
        <p:txBody>
          <a:bodyPr lIns="0" anchor="b" anchorCtr="0"/>
          <a:lstStyle>
            <a:lvl1pPr>
              <a:lnSpc>
                <a:spcPts val="2400"/>
              </a:lnSpc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001" y="1600201"/>
            <a:ext cx="11093451" cy="4004691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/>
            </a:lvl1pPr>
            <a:lvl2pPr marL="349242" indent="-180970">
              <a:buClr>
                <a:schemeClr val="accent1"/>
              </a:buClr>
              <a:defRPr/>
            </a:lvl2pPr>
            <a:lvl3pPr marL="517512" indent="-168270">
              <a:buClr>
                <a:schemeClr val="accent1"/>
              </a:buClr>
              <a:defRPr/>
            </a:lvl3pPr>
            <a:lvl4pPr marL="685783" indent="-168270">
              <a:buClr>
                <a:schemeClr val="accent1"/>
              </a:buClr>
              <a:defRPr/>
            </a:lvl4pPr>
            <a:lvl5pPr marL="806431" indent="-120648">
              <a:buClr>
                <a:schemeClr val="accent1"/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9CACADA9-C812-48D8-B8B9-E9A775436C3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LEAD CONFIDENTIAL AND PROPRIETARY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176AF96B-F142-47AB-A4A1-AD6EE21B557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702BD659-9FDC-409B-A85B-D43EDDA21183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01285945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 &amp; 2 Columns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60650"/>
            <a:ext cx="10810629" cy="12969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45488" y="1773238"/>
            <a:ext cx="5308600" cy="4343400"/>
          </a:xfrm>
        </p:spPr>
        <p:txBody>
          <a:bodyPr/>
          <a:lstStyle>
            <a:lvl2pPr marL="692117" indent="-295261" defTabSz="809961">
              <a:buFont typeface="Wingdings" panose="05000000000000000000" pitchFamily="2" charset="2"/>
              <a:buChar char="Ø"/>
              <a:tabLst>
                <a:tab pos="899957" algn="l"/>
                <a:tab pos="1439931" algn="l"/>
              </a:tabLst>
              <a:defRPr/>
            </a:lvl2pPr>
            <a:lvl3pPr marL="1030239" indent="-223827">
              <a:buFont typeface="Wingdings" panose="05000000000000000000" pitchFamily="2" charset="2"/>
              <a:buChar char="§"/>
              <a:defRPr/>
            </a:lvl3pPr>
            <a:lvl4pPr marL="1441381" indent="-231764">
              <a:buFont typeface="Wingdings" panose="05000000000000000000" pitchFamily="2" charset="2"/>
              <a:buChar char="ü"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41659" y="1773238"/>
            <a:ext cx="5310554" cy="4343400"/>
          </a:xfrm>
        </p:spPr>
        <p:txBody>
          <a:bodyPr/>
          <a:lstStyle>
            <a:lvl2pPr marL="692117" indent="-295261">
              <a:buFont typeface="Wingdings" panose="05000000000000000000" pitchFamily="2" charset="2"/>
              <a:buChar char="Ø"/>
              <a:defRPr/>
            </a:lvl2pPr>
            <a:lvl3pPr marL="1030239" indent="-223827">
              <a:buFont typeface="Wingdings" panose="05000000000000000000" pitchFamily="2" charset="2"/>
              <a:buChar char="§"/>
              <a:defRPr/>
            </a:lvl3pPr>
            <a:lvl4pPr marL="1441381" indent="-231764">
              <a:buFont typeface="Wingdings" panose="05000000000000000000" pitchFamily="2" charset="2"/>
              <a:buChar char="ü"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23977532"/>
      </p:ext>
    </p:extLst>
  </p:cSld>
  <p:clrMapOvr>
    <a:masterClrMapping/>
  </p:clrMapOvr>
  <p:transition>
    <p:wipe dir="d"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29/21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9325458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2 Columns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06184295"/>
      </p:ext>
    </p:extLst>
  </p:cSld>
  <p:clrMapOvr>
    <a:masterClrMapping/>
  </p:clrMapOvr>
  <p:transition>
    <p:wipe dir="d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Title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5" name="Text Box 19"/>
          <p:cNvSpPr txBox="1">
            <a:spLocks noChangeArrowheads="1"/>
          </p:cNvSpPr>
          <p:nvPr/>
        </p:nvSpPr>
        <p:spPr bwMode="auto">
          <a:xfrm>
            <a:off x="5627080" y="6400805"/>
            <a:ext cx="93784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US" sz="2400" b="1">
              <a:latin typeface="Times" pitchFamily="-107" charset="0"/>
              <a:ea typeface="+mn-ea"/>
            </a:endParaRPr>
          </a:p>
        </p:txBody>
      </p:sp>
      <p:sp>
        <p:nvSpPr>
          <p:cNvPr id="162862" name="Rectangle 46"/>
          <p:cNvSpPr>
            <a:spLocks noGrp="1" noChangeArrowheads="1"/>
          </p:cNvSpPr>
          <p:nvPr>
            <p:ph type="ctrTitle"/>
          </p:nvPr>
        </p:nvSpPr>
        <p:spPr>
          <a:xfrm>
            <a:off x="157035" y="3040860"/>
            <a:ext cx="11869206" cy="776287"/>
          </a:xfrm>
        </p:spPr>
        <p:txBody>
          <a:bodyPr tIns="45720" bIns="45720" anchor="ctr"/>
          <a:lstStyle>
            <a:lvl1pPr algn="ctr">
              <a:defRPr sz="4200">
                <a:solidFill>
                  <a:srgbClr val="F588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1"/>
          <p:cNvPicPr>
            <a:picLocks noChangeAspect="1"/>
          </p:cNvPicPr>
          <p:nvPr userDrawn="1"/>
        </p:nvPicPr>
        <p:blipFill rotWithShape="1">
          <a:blip r:embed="rId2">
            <a:alphaModFix amt="16000"/>
          </a:blip>
          <a:srcRect l="7692" t="27780" r="8073" b="19481"/>
          <a:stretch/>
        </p:blipFill>
        <p:spPr>
          <a:xfrm>
            <a:off x="24409" y="752856"/>
            <a:ext cx="12099939" cy="2246376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2224429" y="4708390"/>
            <a:ext cx="7743145" cy="535215"/>
          </a:xfrm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220067" y="6226392"/>
            <a:ext cx="7743145" cy="535215"/>
          </a:xfrm>
        </p:spPr>
        <p:txBody>
          <a:bodyPr anchor="ctr"/>
          <a:lstStyle>
            <a:lvl1pPr marL="0" indent="0" algn="ctr">
              <a:buNone/>
              <a:defRPr sz="16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54741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Basic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sp>
        <p:nvSpPr>
          <p:cNvPr id="5" name="Text Box 19"/>
          <p:cNvSpPr txBox="1">
            <a:spLocks noChangeArrowheads="1"/>
          </p:cNvSpPr>
          <p:nvPr/>
        </p:nvSpPr>
        <p:spPr bwMode="auto">
          <a:xfrm>
            <a:off x="5627080" y="6400805"/>
            <a:ext cx="93784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US" sz="2400" b="1">
              <a:latin typeface="Times" pitchFamily="-107" charset="0"/>
              <a:ea typeface="+mn-ea"/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745489" y="1773238"/>
            <a:ext cx="10806722" cy="4343400"/>
          </a:xfrm>
        </p:spPr>
        <p:txBody>
          <a:bodyPr/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1pPr>
            <a:lvl2pPr marL="692117" indent="-295261"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defRPr baseline="0">
                <a:solidFill>
                  <a:schemeClr val="bg1"/>
                </a:solidFill>
                <a:latin typeface="Tahoma" pitchFamily="34" charset="0"/>
              </a:defRPr>
            </a:lvl2pPr>
            <a:lvl3pPr marL="1030239" indent="-223827">
              <a:buClr>
                <a:schemeClr val="accent1"/>
              </a:buClr>
              <a:buSzPct val="110000"/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 marL="1795376" indent="0">
              <a:buClr>
                <a:schemeClr val="accent1"/>
              </a:buClr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741584" y="260649"/>
            <a:ext cx="1081062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490F5DC-3EAB-5B4E-B0DA-7E2098313112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2653DE0-B73D-F04F-9303-30C700D38993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6496753"/>
      </p:ext>
    </p:extLst>
  </p:cSld>
  <p:clrMapOvr>
    <a:masterClrMapping/>
  </p:clrMapOvr>
  <p:transition>
    <p:wipe dir="d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Empty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741584" y="260649"/>
            <a:ext cx="1081062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24104EB-A837-AD48-9132-CE83F3F81A1D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F5ACF1B-34EB-A74F-86CE-180ADC05D5C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643713"/>
      </p:ext>
    </p:extLst>
  </p:cSld>
  <p:clrMapOvr>
    <a:masterClrMapping/>
  </p:clrMapOvr>
  <p:transition>
    <p:wipe dir="d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Green_Empty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72082E4-E715-C743-88D4-C51EBEE31189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4A82A5B-9473-B24C-991C-C1D5B90D1406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7289288"/>
      </p:ext>
    </p:extLst>
  </p:cSld>
  <p:clrMapOvr>
    <a:masterClrMapping/>
  </p:clrMapOvr>
  <p:transition>
    <p:wipe dir="d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.xml"/><Relationship Id="rId20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16.xml"/><Relationship Id="rId7" Type="http://schemas.openxmlformats.org/officeDocument/2006/relationships/oleObject" Target="../embeddings/oleObject3.bin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tags" Target="../tags/tag3.xml"/><Relationship Id="rId5" Type="http://schemas.openxmlformats.org/officeDocument/2006/relationships/vmlDrawing" Target="../drawings/vmlDrawing3.vml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18" Type="http://schemas.openxmlformats.org/officeDocument/2006/relationships/slideLayout" Target="../slideLayouts/slideLayout34.xml"/><Relationship Id="rId3" Type="http://schemas.openxmlformats.org/officeDocument/2006/relationships/slideLayout" Target="../slideLayouts/slideLayout19.xml"/><Relationship Id="rId21" Type="http://schemas.openxmlformats.org/officeDocument/2006/relationships/slideLayout" Target="../slideLayouts/slideLayout37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slideLayout" Target="../slideLayouts/slideLayout33.xml"/><Relationship Id="rId25" Type="http://schemas.openxmlformats.org/officeDocument/2006/relationships/theme" Target="../theme/theme3.xml"/><Relationship Id="rId2" Type="http://schemas.openxmlformats.org/officeDocument/2006/relationships/slideLayout" Target="../slideLayouts/slideLayout18.xml"/><Relationship Id="rId16" Type="http://schemas.openxmlformats.org/officeDocument/2006/relationships/slideLayout" Target="../slideLayouts/slideLayout32.xml"/><Relationship Id="rId20" Type="http://schemas.openxmlformats.org/officeDocument/2006/relationships/slideLayout" Target="../slideLayouts/slideLayout36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24" Type="http://schemas.openxmlformats.org/officeDocument/2006/relationships/slideLayout" Target="../slideLayouts/slideLayout40.xml"/><Relationship Id="rId5" Type="http://schemas.openxmlformats.org/officeDocument/2006/relationships/slideLayout" Target="../slideLayouts/slideLayout21.xml"/><Relationship Id="rId15" Type="http://schemas.openxmlformats.org/officeDocument/2006/relationships/slideLayout" Target="../slideLayouts/slideLayout31.xml"/><Relationship Id="rId23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26.xml"/><Relationship Id="rId19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Relationship Id="rId22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6"/>
            </p:custDataLst>
          </p:nvPr>
        </p:nvGraphicFramePr>
        <p:xfrm>
          <a:off x="1959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17" imgW="519" imgH="520" progId="TCLayout.ActiveDocument.1">
                  <p:embed/>
                </p:oleObj>
              </mc:Choice>
              <mc:Fallback>
                <p:oleObj name="think-cell Slide" r:id="rId17" imgW="519" imgH="52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959" y="159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9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745489" y="1773238"/>
            <a:ext cx="10806722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1"/>
            <a:endParaRPr lang="en-US"/>
          </a:p>
          <a:p>
            <a:pPr lvl="2"/>
            <a:endParaRPr lang="en-US"/>
          </a:p>
        </p:txBody>
      </p:sp>
      <p:sp>
        <p:nvSpPr>
          <p:cNvPr id="1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741584" y="260649"/>
            <a:ext cx="10623061" cy="13744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18000" rIns="9144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Slide title (36 pt.)</a:t>
            </a:r>
          </a:p>
        </p:txBody>
      </p:sp>
      <p:pic>
        <p:nvPicPr>
          <p:cNvPr id="22" name="Afbeelding 21" descr="Greyfish_m.png"/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pic>
        <p:nvPicPr>
          <p:cNvPr id="24" name="Afbeelding 11"/>
          <p:cNvPicPr>
            <a:picLocks noChangeAspect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451943" y="6446838"/>
            <a:ext cx="1537094" cy="296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FF5AB9D8-6642-5B49-89E9-A48CDE62CA56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>
                    <a:lumMod val="50000"/>
                  </a:schemeClr>
                </a:solidFill>
              </a:rPr>
              <a:t>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597B5E6-ED14-E54E-A6A5-86660342C04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>
                    <a:lumMod val="50000"/>
                  </a:schemeClr>
                </a:solidFill>
              </a:rPr>
              <a:t>‹#›</a:t>
            </a:fld>
            <a:endParaRPr lang="en-US" sz="1000" i="1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17054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</p:sldLayoutIdLst>
  <p:transition>
    <p:wipe dir="d"/>
  </p:transition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+mj-lt"/>
          <a:ea typeface="ＭＳ Ｐゴシック" pitchFamily="-107" charset="-128"/>
          <a:cs typeface="ＭＳ Ｐゴシック" pitchFamily="-107" charset="-12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5pPr>
      <a:lvl6pPr marL="457178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6pPr>
      <a:lvl7pPr marL="914357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7pPr>
      <a:lvl8pPr marL="1371534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8pPr>
      <a:lvl9pPr marL="1828713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9pPr>
    </p:titleStyle>
    <p:bodyStyle>
      <a:lvl1pPr marL="342900" indent="-342900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Font typeface="Arial" panose="020B0604020202020204" pitchFamily="34" charset="0"/>
        <a:buChar char="•"/>
        <a:tabLst>
          <a:tab pos="973091" algn="l"/>
          <a:tab pos="1481067" algn="l"/>
        </a:tabLst>
        <a:defRPr sz="2400">
          <a:solidFill>
            <a:schemeClr val="tx1"/>
          </a:solidFill>
          <a:latin typeface="+mn-lt"/>
          <a:ea typeface="ＭＳ Ｐゴシック" pitchFamily="-107" charset="-128"/>
          <a:cs typeface="ＭＳ Ｐゴシック" pitchFamily="-107" charset="-128"/>
        </a:defRPr>
      </a:lvl1pPr>
      <a:lvl2pPr marL="692117" indent="-295261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Ø"/>
        <a:tabLst>
          <a:tab pos="973091" algn="l"/>
          <a:tab pos="1481067" algn="l"/>
        </a:tabLst>
        <a:defRPr sz="2000"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2pPr>
      <a:lvl3pPr marL="1030239" indent="-223827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§"/>
        <a:tabLst>
          <a:tab pos="973091" algn="l"/>
          <a:tab pos="1481067" algn="l"/>
        </a:tabLst>
        <a:defRPr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3pPr>
      <a:lvl4pPr marL="1441381" indent="-231764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ü"/>
        <a:tabLst>
          <a:tab pos="973091" algn="l"/>
          <a:tab pos="1481067" algn="l"/>
        </a:tabLst>
        <a:defRPr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4pPr>
      <a:lvl5pPr marL="1800140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5pPr>
      <a:lvl6pPr marL="2257317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6pPr>
      <a:lvl7pPr marL="2714495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7pPr>
      <a:lvl8pPr marL="3171674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8pPr>
      <a:lvl9pPr marL="3628852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9pPr>
    </p:bodyStyle>
    <p:otherStyle>
      <a:defPPr>
        <a:defRPr lang="en-US"/>
      </a:defPPr>
      <a:lvl1pPr marL="0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7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4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13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91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9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26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959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" name="think-cell Slide" r:id="rId7" imgW="519" imgH="520" progId="TCLayout.ActiveDocument.1">
                  <p:embed/>
                </p:oleObj>
              </mc:Choice>
              <mc:Fallback>
                <p:oleObj name="think-cell Slide" r:id="rId7" imgW="519" imgH="52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959" y="159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878439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714" r:id="rId3"/>
  </p:sldLayoutIdLst>
  <p:transition>
    <p:wipe dir="d"/>
  </p:transition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+mj-lt"/>
          <a:ea typeface="ＭＳ Ｐゴシック" pitchFamily="-107" charset="-128"/>
          <a:cs typeface="ＭＳ Ｐゴシック" pitchFamily="-107" charset="-12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5pPr>
      <a:lvl6pPr marL="457178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6pPr>
      <a:lvl7pPr marL="914357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7pPr>
      <a:lvl8pPr marL="1371534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8pPr>
      <a:lvl9pPr marL="1828713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9pPr>
    </p:titleStyle>
    <p:bodyStyle>
      <a:lvl1pPr marL="342900" indent="-342900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Font typeface="Arial" panose="020B0604020202020204" pitchFamily="34" charset="0"/>
        <a:buChar char="•"/>
        <a:tabLst>
          <a:tab pos="973091" algn="l"/>
          <a:tab pos="1481067" algn="l"/>
        </a:tabLst>
        <a:defRPr sz="2400">
          <a:solidFill>
            <a:schemeClr val="tx1"/>
          </a:solidFill>
          <a:latin typeface="+mn-lt"/>
          <a:ea typeface="ＭＳ Ｐゴシック" pitchFamily="-107" charset="-128"/>
          <a:cs typeface="ＭＳ Ｐゴシック" pitchFamily="-107" charset="-128"/>
        </a:defRPr>
      </a:lvl1pPr>
      <a:lvl2pPr marL="692117" indent="-295261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Ø"/>
        <a:tabLst>
          <a:tab pos="973091" algn="l"/>
          <a:tab pos="1481067" algn="l"/>
        </a:tabLst>
        <a:defRPr sz="2000"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2pPr>
      <a:lvl3pPr marL="1030239" indent="-223827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§"/>
        <a:tabLst>
          <a:tab pos="973091" algn="l"/>
          <a:tab pos="1481067" algn="l"/>
        </a:tabLst>
        <a:defRPr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3pPr>
      <a:lvl4pPr marL="1441381" indent="-231764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ü"/>
        <a:tabLst>
          <a:tab pos="973091" algn="l"/>
          <a:tab pos="1481067" algn="l"/>
        </a:tabLst>
        <a:defRPr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4pPr>
      <a:lvl5pPr marL="1800140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5pPr>
      <a:lvl6pPr marL="2257317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6pPr>
      <a:lvl7pPr marL="2714495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7pPr>
      <a:lvl8pPr marL="3171674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8pPr>
      <a:lvl9pPr marL="3628852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9pPr>
    </p:bodyStyle>
    <p:otherStyle>
      <a:defPPr>
        <a:defRPr lang="en-US"/>
      </a:defPPr>
      <a:lvl1pPr marL="0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7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4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13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91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9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26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6BD022E9-1AF0-D441-89FB-E4108D4E6B0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74867" y="6213310"/>
            <a:ext cx="7141347" cy="325604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CA" sz="800" b="0" i="0" u="none" strike="noStrike" cap="all" baseline="0" smtClean="0">
                <a:solidFill>
                  <a:schemeClr val="accent3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CA"/>
              <a:t>Disclaimer goes here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BD8F4315-808C-1D48-B36E-6E6CA2B021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730272" y="6376112"/>
            <a:ext cx="601133" cy="17144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933">
                <a:solidFill>
                  <a:schemeClr val="accent3"/>
                </a:solidFill>
              </a:defRPr>
            </a:lvl1pPr>
          </a:lstStyle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76022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  <p:sldLayoutId id="2147483697" r:id="rId8"/>
    <p:sldLayoutId id="2147483698" r:id="rId9"/>
    <p:sldLayoutId id="2147483699" r:id="rId10"/>
    <p:sldLayoutId id="2147483700" r:id="rId11"/>
    <p:sldLayoutId id="2147483701" r:id="rId12"/>
    <p:sldLayoutId id="2147483702" r:id="rId13"/>
    <p:sldLayoutId id="2147483703" r:id="rId14"/>
    <p:sldLayoutId id="2147483704" r:id="rId15"/>
    <p:sldLayoutId id="2147483705" r:id="rId16"/>
    <p:sldLayoutId id="2147483706" r:id="rId17"/>
    <p:sldLayoutId id="2147483707" r:id="rId18"/>
    <p:sldLayoutId id="2147483708" r:id="rId19"/>
    <p:sldLayoutId id="2147483709" r:id="rId20"/>
    <p:sldLayoutId id="2147483710" r:id="rId21"/>
    <p:sldLayoutId id="2147483711" r:id="rId22"/>
    <p:sldLayoutId id="2147483712" r:id="rId23"/>
    <p:sldLayoutId id="2147483713" r:id="rId24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49">
          <p15:clr>
            <a:srgbClr val="F26B43"/>
          </p15:clr>
        </p15:guide>
        <p15:guide id="2" pos="408">
          <p15:clr>
            <a:srgbClr val="F26B43"/>
          </p15:clr>
        </p15:guide>
        <p15:guide id="3" pos="5352">
          <p15:clr>
            <a:srgbClr val="F26B43"/>
          </p15:clr>
        </p15:guide>
        <p15:guide id="4" orient="horz" pos="275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23.png"/><Relationship Id="rId7" Type="http://schemas.openxmlformats.org/officeDocument/2006/relationships/image" Target="../media/image28.sv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7.png"/><Relationship Id="rId5" Type="http://schemas.openxmlformats.org/officeDocument/2006/relationships/hyperlink" Target="http://www.google.com/" TargetMode="External"/><Relationship Id="rId10" Type="http://schemas.openxmlformats.org/officeDocument/2006/relationships/image" Target="../media/image31.png"/><Relationship Id="rId4" Type="http://schemas.openxmlformats.org/officeDocument/2006/relationships/image" Target="../media/image26.png"/><Relationship Id="rId9" Type="http://schemas.openxmlformats.org/officeDocument/2006/relationships/image" Target="../media/image30.sv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svg"/><Relationship Id="rId3" Type="http://schemas.openxmlformats.org/officeDocument/2006/relationships/image" Target="../media/image26.png"/><Relationship Id="rId7" Type="http://schemas.openxmlformats.org/officeDocument/2006/relationships/image" Target="../media/image29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8.svg"/><Relationship Id="rId5" Type="http://schemas.openxmlformats.org/officeDocument/2006/relationships/image" Target="../media/image27.png"/><Relationship Id="rId10" Type="http://schemas.openxmlformats.org/officeDocument/2006/relationships/image" Target="../media/image25.png"/><Relationship Id="rId4" Type="http://schemas.openxmlformats.org/officeDocument/2006/relationships/hyperlink" Target="http://www.google.com/" TargetMode="External"/><Relationship Id="rId9" Type="http://schemas.openxmlformats.org/officeDocument/2006/relationships/image" Target="../media/image22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32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1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9.xml"/><Relationship Id="rId6" Type="http://schemas.microsoft.com/office/2007/relationships/hdphoto" Target="../media/hdphoto1.wdp"/><Relationship Id="rId5" Type="http://schemas.openxmlformats.org/officeDocument/2006/relationships/image" Target="../media/image21.png"/><Relationship Id="rId4" Type="http://schemas.openxmlformats.org/officeDocument/2006/relationships/image" Target="../media/image20.sv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3.png"/><Relationship Id="rId7" Type="http://schemas.openxmlformats.org/officeDocument/2006/relationships/hyperlink" Target="http://www.google.com/" TargetMode="External"/><Relationship Id="rId12" Type="http://schemas.openxmlformats.org/officeDocument/2006/relationships/image" Target="../media/image31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6.png"/><Relationship Id="rId11" Type="http://schemas.openxmlformats.org/officeDocument/2006/relationships/image" Target="../media/image30.svg"/><Relationship Id="rId5" Type="http://schemas.openxmlformats.org/officeDocument/2006/relationships/image" Target="../media/image25.png"/><Relationship Id="rId10" Type="http://schemas.openxmlformats.org/officeDocument/2006/relationships/image" Target="../media/image29.png"/><Relationship Id="rId4" Type="http://schemas.openxmlformats.org/officeDocument/2006/relationships/image" Target="../media/image24.png"/><Relationship Id="rId9" Type="http://schemas.openxmlformats.org/officeDocument/2006/relationships/image" Target="../media/image28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text, indoor&#10;&#10;Description automatically generated">
            <a:extLst>
              <a:ext uri="{FF2B5EF4-FFF2-40B4-BE49-F238E27FC236}">
                <a16:creationId xmlns:a16="http://schemas.microsoft.com/office/drawing/2014/main" id="{DE9240B9-B268-46DA-8919-F0E5E539042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B5DDCAD4-B544-4BA6-8202-AFDF9A70B494}"/>
              </a:ext>
            </a:extLst>
          </p:cNvPr>
          <p:cNvSpPr/>
          <p:nvPr/>
        </p:nvSpPr>
        <p:spPr bwMode="auto">
          <a:xfrm>
            <a:off x="0" y="-1"/>
            <a:ext cx="12192000" cy="6858001"/>
          </a:xfrm>
          <a:prstGeom prst="rect">
            <a:avLst/>
          </a:prstGeom>
          <a:solidFill>
            <a:schemeClr val="accent2">
              <a:alpha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5F715D4-0440-4F2A-B10A-C5E6679D8E46}"/>
              </a:ext>
            </a:extLst>
          </p:cNvPr>
          <p:cNvSpPr txBox="1"/>
          <p:nvPr/>
        </p:nvSpPr>
        <p:spPr>
          <a:xfrm>
            <a:off x="401722" y="2900680"/>
            <a:ext cx="329306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HCP Journey </a:t>
            </a: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F588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Workshop 2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386028D-BB43-4C82-B42F-AD37BD3C1BDD}"/>
              </a:ext>
            </a:extLst>
          </p:cNvPr>
          <p:cNvCxnSpPr>
            <a:cxnSpLocks/>
          </p:cNvCxnSpPr>
          <p:nvPr/>
        </p:nvCxnSpPr>
        <p:spPr bwMode="auto">
          <a:xfrm>
            <a:off x="475488" y="3898011"/>
            <a:ext cx="278892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2469A092-A161-4D41-88A5-0ACDFCE29DF5}"/>
              </a:ext>
            </a:extLst>
          </p:cNvPr>
          <p:cNvSpPr txBox="1"/>
          <p:nvPr/>
        </p:nvSpPr>
        <p:spPr>
          <a:xfrm>
            <a:off x="448056" y="4026027"/>
            <a:ext cx="27889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Friday 23rd March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re project team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61992EF8-3C27-42E1-B089-917F5A790DD1}"/>
              </a:ext>
            </a:extLst>
          </p:cNvPr>
          <p:cNvCxnSpPr>
            <a:cxnSpLocks/>
          </p:cNvCxnSpPr>
          <p:nvPr/>
        </p:nvCxnSpPr>
        <p:spPr bwMode="auto">
          <a:xfrm>
            <a:off x="475488" y="4808347"/>
            <a:ext cx="278892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5" name="Picture 1">
            <a:extLst>
              <a:ext uri="{FF2B5EF4-FFF2-40B4-BE49-F238E27FC236}">
                <a16:creationId xmlns:a16="http://schemas.microsoft.com/office/drawing/2014/main" id="{536587D1-A4F4-4D0D-A6EA-70D35341496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 amt="16000"/>
          </a:blip>
          <a:srcRect l="7692" t="27780" r="8073" b="19481"/>
          <a:stretch/>
        </p:blipFill>
        <p:spPr>
          <a:xfrm>
            <a:off x="24409" y="752856"/>
            <a:ext cx="12099939" cy="2246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6563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DE226D76-DFDC-493D-BC2A-95A0A748F140}"/>
              </a:ext>
            </a:extLst>
          </p:cNvPr>
          <p:cNvSpPr txBox="1"/>
          <p:nvPr/>
        </p:nvSpPr>
        <p:spPr>
          <a:xfrm>
            <a:off x="0" y="342781"/>
            <a:ext cx="6096000" cy="347769"/>
          </a:xfrm>
          <a:prstGeom prst="rect">
            <a:avLst/>
          </a:prstGeom>
          <a:solidFill>
            <a:srgbClr val="585858"/>
          </a:solidFill>
        </p:spPr>
        <p:txBody>
          <a:bodyPr wrap="square" tIns="36000" bIns="3600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1 - Unmet Need </a:t>
            </a:r>
            <a:r>
              <a: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Uses a wide variety of treatments 1</a:t>
            </a:r>
            <a:r>
              <a:rPr kumimoji="0" lang="en-GB" sz="1050" b="0" i="0" u="none" strike="noStrike" kern="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st</a:t>
            </a:r>
            <a:r>
              <a: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 line, including JAK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CE7C206-623B-4EC4-A2AB-386E2D02627B}"/>
              </a:ext>
            </a:extLst>
          </p:cNvPr>
          <p:cNvSpPr txBox="1"/>
          <p:nvPr/>
        </p:nvSpPr>
        <p:spPr>
          <a:xfrm>
            <a:off x="6096000" y="342781"/>
            <a:ext cx="6096000" cy="347769"/>
          </a:xfrm>
          <a:prstGeom prst="rect">
            <a:avLst/>
          </a:prstGeom>
          <a:solidFill>
            <a:srgbClr val="C1B29C"/>
          </a:solidFill>
        </p:spPr>
        <p:txBody>
          <a:bodyPr wrap="square" tIns="36000" bIns="36000" rtlCol="0" anchor="ctr" anchorCtr="0">
            <a:noAutofit/>
          </a:bodyPr>
          <a:lstStyle>
            <a:defPPr>
              <a:defRPr lang="en-US"/>
            </a:defPPr>
            <a:lvl1pPr marR="0" lvl="0" indent="0" algn="ct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900" b="0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2 - Research</a:t>
            </a: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: Uses a wide variety of treatments 1st line, including JAK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0D9D066-2FC7-4081-9876-23A13E2FFEC1}"/>
              </a:ext>
            </a:extLst>
          </p:cNvPr>
          <p:cNvSpPr txBox="1"/>
          <p:nvPr/>
        </p:nvSpPr>
        <p:spPr>
          <a:xfrm>
            <a:off x="1171404" y="724106"/>
            <a:ext cx="984919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Galapagos Goal: </a:t>
            </a: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Insert the Galapagos goal from the current adoption stage her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EF9AF84-5726-40D1-ADC3-7A2A5FC3C1FA}"/>
              </a:ext>
            </a:extLst>
          </p:cNvPr>
          <p:cNvSpPr txBox="1"/>
          <p:nvPr/>
        </p:nvSpPr>
        <p:spPr>
          <a:xfrm>
            <a:off x="1171404" y="941659"/>
            <a:ext cx="984919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Adoption Stage Barrier: </a:t>
            </a: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Insert Galapagos the barrier for the current adoption stage her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697FD9D-49DE-47A0-9A2D-09BEB025AACA}"/>
              </a:ext>
            </a:extLst>
          </p:cNvPr>
          <p:cNvSpPr txBox="1"/>
          <p:nvPr/>
        </p:nvSpPr>
        <p:spPr>
          <a:xfrm>
            <a:off x="0" y="0"/>
            <a:ext cx="6096000" cy="347769"/>
          </a:xfrm>
          <a:prstGeom prst="rect">
            <a:avLst/>
          </a:prstGeom>
          <a:solidFill>
            <a:srgbClr val="A15699"/>
          </a:solidFill>
        </p:spPr>
        <p:txBody>
          <a:bodyPr wrap="square" tIns="36000" bIns="3600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Mavericks</a:t>
            </a:r>
            <a:endParaRPr kumimoji="0" lang="en-GB" sz="105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ＭＳ Ｐゴシック" pitchFamily="-1" charset="-128"/>
              <a:cs typeface="Arial" panose="020B0604020202020204" pitchFamily="34" charset="0"/>
            </a:endParaRPr>
          </a:p>
        </p:txBody>
      </p:sp>
      <p:pic>
        <p:nvPicPr>
          <p:cNvPr id="15" name="Picture 14" descr="A picture containing clock, drawing, room&#10;&#10;Description automatically generated">
            <a:extLst>
              <a:ext uri="{FF2B5EF4-FFF2-40B4-BE49-F238E27FC236}">
                <a16:creationId xmlns:a16="http://schemas.microsoft.com/office/drawing/2014/main" id="{197CB2C7-0C9B-42E2-8F15-003B9D74C01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557339" cy="557339"/>
          </a:xfrm>
          <a:prstGeom prst="rect">
            <a:avLst/>
          </a:prstGeom>
          <a:ln>
            <a:noFill/>
          </a:ln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9F07A1A9-AEB7-4965-861A-C08513ADA4D1}"/>
              </a:ext>
            </a:extLst>
          </p:cNvPr>
          <p:cNvSpPr txBox="1"/>
          <p:nvPr/>
        </p:nvSpPr>
        <p:spPr>
          <a:xfrm>
            <a:off x="6096000" y="0"/>
            <a:ext cx="6096000" cy="347769"/>
          </a:xfrm>
          <a:prstGeom prst="rect">
            <a:avLst/>
          </a:prstGeom>
          <a:solidFill>
            <a:srgbClr val="A15699"/>
          </a:solidFill>
        </p:spPr>
        <p:txBody>
          <a:bodyPr wrap="square" tIns="36000" bIns="3600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Scenario 1</a:t>
            </a:r>
            <a:endParaRPr kumimoji="0" lang="en-GB" sz="1050" b="0" i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ＭＳ Ｐゴシック" pitchFamily="-1" charset="-128"/>
              <a:cs typeface="Arial" panose="020B0604020202020204" pitchFamily="34" charset="0"/>
            </a:endParaRPr>
          </a:p>
        </p:txBody>
      </p:sp>
      <p:pic>
        <p:nvPicPr>
          <p:cNvPr id="19" name="Picture 18" descr="Icon&#10;&#10;Description automatically generated">
            <a:extLst>
              <a:ext uri="{FF2B5EF4-FFF2-40B4-BE49-F238E27FC236}">
                <a16:creationId xmlns:a16="http://schemas.microsoft.com/office/drawing/2014/main" id="{1FAD771E-8F4B-4C0B-B124-EF3D16E3624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3109" y="23295"/>
            <a:ext cx="350670" cy="350670"/>
          </a:xfrm>
          <a:prstGeom prst="rect">
            <a:avLst/>
          </a:prstGeom>
        </p:spPr>
      </p:pic>
      <p:sp>
        <p:nvSpPr>
          <p:cNvPr id="20" name="Arrow: Right 19">
            <a:extLst>
              <a:ext uri="{FF2B5EF4-FFF2-40B4-BE49-F238E27FC236}">
                <a16:creationId xmlns:a16="http://schemas.microsoft.com/office/drawing/2014/main" id="{681A9C92-0FC8-46B0-8542-7A7ADC301AB7}"/>
              </a:ext>
            </a:extLst>
          </p:cNvPr>
          <p:cNvSpPr/>
          <p:nvPr/>
        </p:nvSpPr>
        <p:spPr bwMode="auto">
          <a:xfrm>
            <a:off x="5763237" y="373965"/>
            <a:ext cx="478172" cy="293290"/>
          </a:xfrm>
          <a:prstGeom prst="rightArrow">
            <a:avLst/>
          </a:prstGeom>
          <a:solidFill>
            <a:srgbClr val="58585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2" name="Isosceles Triangle 1">
            <a:extLst>
              <a:ext uri="{FF2B5EF4-FFF2-40B4-BE49-F238E27FC236}">
                <a16:creationId xmlns:a16="http://schemas.microsoft.com/office/drawing/2014/main" id="{B846000C-2A2D-4A8B-A061-DBEC204AC798}"/>
              </a:ext>
            </a:extLst>
          </p:cNvPr>
          <p:cNvSpPr/>
          <p:nvPr/>
        </p:nvSpPr>
        <p:spPr bwMode="auto">
          <a:xfrm rot="10800000">
            <a:off x="9558804" y="111370"/>
            <a:ext cx="141942" cy="105354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0" name="Isosceles Triangle 39">
            <a:extLst>
              <a:ext uri="{FF2B5EF4-FFF2-40B4-BE49-F238E27FC236}">
                <a16:creationId xmlns:a16="http://schemas.microsoft.com/office/drawing/2014/main" id="{298C680F-1853-4486-B071-7890E0DCD7CD}"/>
              </a:ext>
            </a:extLst>
          </p:cNvPr>
          <p:cNvSpPr/>
          <p:nvPr/>
        </p:nvSpPr>
        <p:spPr bwMode="auto">
          <a:xfrm rot="10800000">
            <a:off x="3444347" y="111370"/>
            <a:ext cx="141942" cy="105354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1" name="Isosceles Triangle 40">
            <a:extLst>
              <a:ext uri="{FF2B5EF4-FFF2-40B4-BE49-F238E27FC236}">
                <a16:creationId xmlns:a16="http://schemas.microsoft.com/office/drawing/2014/main" id="{7F31D432-20E7-486B-A743-77C8D87EAA4E}"/>
              </a:ext>
            </a:extLst>
          </p:cNvPr>
          <p:cNvSpPr/>
          <p:nvPr/>
        </p:nvSpPr>
        <p:spPr bwMode="auto">
          <a:xfrm rot="10800000">
            <a:off x="5787677" y="475229"/>
            <a:ext cx="141942" cy="105354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2" name="Isosceles Triangle 41">
            <a:extLst>
              <a:ext uri="{FF2B5EF4-FFF2-40B4-BE49-F238E27FC236}">
                <a16:creationId xmlns:a16="http://schemas.microsoft.com/office/drawing/2014/main" id="{FE10F89A-0D01-4BDF-AD1B-BF401069E3F3}"/>
              </a:ext>
            </a:extLst>
          </p:cNvPr>
          <p:cNvSpPr/>
          <p:nvPr/>
        </p:nvSpPr>
        <p:spPr bwMode="auto">
          <a:xfrm rot="10800000">
            <a:off x="11893975" y="466028"/>
            <a:ext cx="141942" cy="105354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DD78FD5-59CD-4D34-B4FE-7ED14930073A}"/>
              </a:ext>
            </a:extLst>
          </p:cNvPr>
          <p:cNvSpPr/>
          <p:nvPr/>
        </p:nvSpPr>
        <p:spPr bwMode="auto">
          <a:xfrm>
            <a:off x="557339" y="2027763"/>
            <a:ext cx="10980821" cy="126467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ahoma" pitchFamily="-107" charset="0"/>
              </a:rPr>
              <a:t>Journey 1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77B82019-A486-4C79-AF49-7AA9AF825D3A}"/>
              </a:ext>
            </a:extLst>
          </p:cNvPr>
          <p:cNvSpPr/>
          <p:nvPr/>
        </p:nvSpPr>
        <p:spPr bwMode="auto">
          <a:xfrm>
            <a:off x="557339" y="4365258"/>
            <a:ext cx="10980821" cy="126467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ahoma" pitchFamily="-107" charset="0"/>
              </a:rPr>
              <a:t>Journey 2</a:t>
            </a:r>
          </a:p>
        </p:txBody>
      </p:sp>
    </p:spTree>
    <p:extLst>
      <p:ext uri="{BB962C8B-B14F-4D97-AF65-F5344CB8AC3E}">
        <p14:creationId xmlns:p14="http://schemas.microsoft.com/office/powerpoint/2010/main" val="1440118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DE226D76-DFDC-493D-BC2A-95A0A748F140}"/>
              </a:ext>
            </a:extLst>
          </p:cNvPr>
          <p:cNvSpPr txBox="1"/>
          <p:nvPr/>
        </p:nvSpPr>
        <p:spPr>
          <a:xfrm>
            <a:off x="0" y="342781"/>
            <a:ext cx="6096000" cy="347769"/>
          </a:xfrm>
          <a:prstGeom prst="rect">
            <a:avLst/>
          </a:prstGeom>
          <a:solidFill>
            <a:srgbClr val="585858"/>
          </a:solidFill>
        </p:spPr>
        <p:txBody>
          <a:bodyPr wrap="square" tIns="36000" bIns="3600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1 - Unmet Need </a:t>
            </a:r>
            <a:r>
              <a: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Uses a wide variety of treatments 1</a:t>
            </a:r>
            <a:r>
              <a:rPr kumimoji="0" lang="en-GB" sz="1050" b="0" i="0" u="none" strike="noStrike" kern="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st</a:t>
            </a:r>
            <a:r>
              <a: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 line, including JAK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CE7C206-623B-4EC4-A2AB-386E2D02627B}"/>
              </a:ext>
            </a:extLst>
          </p:cNvPr>
          <p:cNvSpPr txBox="1"/>
          <p:nvPr/>
        </p:nvSpPr>
        <p:spPr>
          <a:xfrm>
            <a:off x="6096000" y="342781"/>
            <a:ext cx="6096000" cy="347769"/>
          </a:xfrm>
          <a:prstGeom prst="rect">
            <a:avLst/>
          </a:prstGeom>
          <a:solidFill>
            <a:srgbClr val="C1B29C"/>
          </a:solidFill>
        </p:spPr>
        <p:txBody>
          <a:bodyPr wrap="square" tIns="36000" bIns="36000" rtlCol="0" anchor="ctr" anchorCtr="0">
            <a:noAutofit/>
          </a:bodyPr>
          <a:lstStyle>
            <a:defPPr>
              <a:defRPr lang="en-US"/>
            </a:defPPr>
            <a:lvl1pPr marR="0" lvl="0" indent="0" algn="ct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900" b="0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2 - Research</a:t>
            </a: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: Uses a wide variety of treatments 1st line, including JAK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0D9D066-2FC7-4081-9876-23A13E2FFEC1}"/>
              </a:ext>
            </a:extLst>
          </p:cNvPr>
          <p:cNvSpPr txBox="1"/>
          <p:nvPr/>
        </p:nvSpPr>
        <p:spPr>
          <a:xfrm>
            <a:off x="1171404" y="724106"/>
            <a:ext cx="984919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Galapagos Goal: </a:t>
            </a: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Insert the Galapagos goal from the current adoption stage her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EF9AF84-5726-40D1-ADC3-7A2A5FC3C1FA}"/>
              </a:ext>
            </a:extLst>
          </p:cNvPr>
          <p:cNvSpPr txBox="1"/>
          <p:nvPr/>
        </p:nvSpPr>
        <p:spPr>
          <a:xfrm>
            <a:off x="1171404" y="941659"/>
            <a:ext cx="984919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Adoption Stage Barrier: </a:t>
            </a: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Insert Galapagos the barrier for the current adoption stage her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697FD9D-49DE-47A0-9A2D-09BEB025AACA}"/>
              </a:ext>
            </a:extLst>
          </p:cNvPr>
          <p:cNvSpPr txBox="1"/>
          <p:nvPr/>
        </p:nvSpPr>
        <p:spPr>
          <a:xfrm>
            <a:off x="0" y="0"/>
            <a:ext cx="6096000" cy="347769"/>
          </a:xfrm>
          <a:prstGeom prst="rect">
            <a:avLst/>
          </a:prstGeom>
          <a:solidFill>
            <a:srgbClr val="A15699"/>
          </a:solidFill>
        </p:spPr>
        <p:txBody>
          <a:bodyPr wrap="square" tIns="36000" bIns="3600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Mavericks</a:t>
            </a:r>
            <a:endParaRPr kumimoji="0" lang="en-GB" sz="105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ＭＳ Ｐゴシック" pitchFamily="-1" charset="-128"/>
              <a:cs typeface="Arial" panose="020B0604020202020204" pitchFamily="34" charset="0"/>
            </a:endParaRPr>
          </a:p>
        </p:txBody>
      </p:sp>
      <p:pic>
        <p:nvPicPr>
          <p:cNvPr id="15" name="Picture 14" descr="A picture containing clock, drawing, room&#10;&#10;Description automatically generated">
            <a:extLst>
              <a:ext uri="{FF2B5EF4-FFF2-40B4-BE49-F238E27FC236}">
                <a16:creationId xmlns:a16="http://schemas.microsoft.com/office/drawing/2014/main" id="{197CB2C7-0C9B-42E2-8F15-003B9D74C01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557339" cy="557339"/>
          </a:xfrm>
          <a:prstGeom prst="rect">
            <a:avLst/>
          </a:prstGeom>
          <a:ln>
            <a:noFill/>
          </a:ln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9F07A1A9-AEB7-4965-861A-C08513ADA4D1}"/>
              </a:ext>
            </a:extLst>
          </p:cNvPr>
          <p:cNvSpPr txBox="1"/>
          <p:nvPr/>
        </p:nvSpPr>
        <p:spPr>
          <a:xfrm>
            <a:off x="6096000" y="0"/>
            <a:ext cx="6096000" cy="347769"/>
          </a:xfrm>
          <a:prstGeom prst="rect">
            <a:avLst/>
          </a:prstGeom>
          <a:solidFill>
            <a:srgbClr val="A15699"/>
          </a:solidFill>
        </p:spPr>
        <p:txBody>
          <a:bodyPr wrap="square" tIns="36000" bIns="3600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Scenario 1</a:t>
            </a:r>
            <a:endParaRPr kumimoji="0" lang="en-GB" sz="1050" b="0" i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ＭＳ Ｐゴシック" pitchFamily="-1" charset="-128"/>
              <a:cs typeface="Arial" panose="020B0604020202020204" pitchFamily="34" charset="0"/>
            </a:endParaRPr>
          </a:p>
        </p:txBody>
      </p:sp>
      <p:pic>
        <p:nvPicPr>
          <p:cNvPr id="19" name="Picture 18" descr="Icon&#10;&#10;Description automatically generated">
            <a:extLst>
              <a:ext uri="{FF2B5EF4-FFF2-40B4-BE49-F238E27FC236}">
                <a16:creationId xmlns:a16="http://schemas.microsoft.com/office/drawing/2014/main" id="{1FAD771E-8F4B-4C0B-B124-EF3D16E3624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3109" y="23295"/>
            <a:ext cx="350670" cy="350670"/>
          </a:xfrm>
          <a:prstGeom prst="rect">
            <a:avLst/>
          </a:prstGeom>
        </p:spPr>
      </p:pic>
      <p:sp>
        <p:nvSpPr>
          <p:cNvPr id="20" name="Arrow: Right 19">
            <a:extLst>
              <a:ext uri="{FF2B5EF4-FFF2-40B4-BE49-F238E27FC236}">
                <a16:creationId xmlns:a16="http://schemas.microsoft.com/office/drawing/2014/main" id="{681A9C92-0FC8-46B0-8542-7A7ADC301AB7}"/>
              </a:ext>
            </a:extLst>
          </p:cNvPr>
          <p:cNvSpPr/>
          <p:nvPr/>
        </p:nvSpPr>
        <p:spPr bwMode="auto">
          <a:xfrm>
            <a:off x="5763237" y="373965"/>
            <a:ext cx="478172" cy="293290"/>
          </a:xfrm>
          <a:prstGeom prst="rightArrow">
            <a:avLst/>
          </a:prstGeom>
          <a:solidFill>
            <a:srgbClr val="58585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graphicFrame>
        <p:nvGraphicFramePr>
          <p:cNvPr id="3" name="Table 3">
            <a:extLst>
              <a:ext uri="{FF2B5EF4-FFF2-40B4-BE49-F238E27FC236}">
                <a16:creationId xmlns:a16="http://schemas.microsoft.com/office/drawing/2014/main" id="{EAAD9A9E-D080-4A6E-AE56-E9003A94799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8925453"/>
              </p:ext>
            </p:extLst>
          </p:nvPr>
        </p:nvGraphicFramePr>
        <p:xfrm>
          <a:off x="9524" y="1214149"/>
          <a:ext cx="12182478" cy="18288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4060826">
                  <a:extLst>
                    <a:ext uri="{9D8B030D-6E8A-4147-A177-3AD203B41FA5}">
                      <a16:colId xmlns:a16="http://schemas.microsoft.com/office/drawing/2014/main" val="936579143"/>
                    </a:ext>
                  </a:extLst>
                </a:gridCol>
                <a:gridCol w="4060826">
                  <a:extLst>
                    <a:ext uri="{9D8B030D-6E8A-4147-A177-3AD203B41FA5}">
                      <a16:colId xmlns:a16="http://schemas.microsoft.com/office/drawing/2014/main" val="1794538880"/>
                    </a:ext>
                  </a:extLst>
                </a:gridCol>
                <a:gridCol w="4060826">
                  <a:extLst>
                    <a:ext uri="{9D8B030D-6E8A-4147-A177-3AD203B41FA5}">
                      <a16:colId xmlns:a16="http://schemas.microsoft.com/office/drawing/2014/main" val="1936598613"/>
                    </a:ext>
                  </a:extLst>
                </a:gridCol>
              </a:tblGrid>
              <a:tr h="176501">
                <a:tc>
                  <a:txBody>
                    <a:bodyPr/>
                    <a:lstStyle/>
                    <a:p>
                      <a:pPr algn="ctr"/>
                      <a:r>
                        <a:rPr lang="en-GB" sz="600" dirty="0"/>
                        <a:t>May</a:t>
                      </a:r>
                      <a:endParaRPr lang="en-GB" sz="400" dirty="0"/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6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June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6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July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3498691"/>
                  </a:ext>
                </a:extLst>
              </a:tr>
            </a:tbl>
          </a:graphicData>
        </a:graphic>
      </p:graphicFrame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009DFDF9-6484-4552-A400-5277AEB87AB3}"/>
              </a:ext>
            </a:extLst>
          </p:cNvPr>
          <p:cNvSpPr/>
          <p:nvPr/>
        </p:nvSpPr>
        <p:spPr bwMode="auto">
          <a:xfrm rot="10800000">
            <a:off x="9558804" y="111370"/>
            <a:ext cx="141942" cy="105354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22" name="Isosceles Triangle 21">
            <a:extLst>
              <a:ext uri="{FF2B5EF4-FFF2-40B4-BE49-F238E27FC236}">
                <a16:creationId xmlns:a16="http://schemas.microsoft.com/office/drawing/2014/main" id="{941E0DE6-2AE1-4463-9200-CDD40B9F8331}"/>
              </a:ext>
            </a:extLst>
          </p:cNvPr>
          <p:cNvSpPr/>
          <p:nvPr/>
        </p:nvSpPr>
        <p:spPr bwMode="auto">
          <a:xfrm rot="10800000">
            <a:off x="3444347" y="111370"/>
            <a:ext cx="141942" cy="105354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23" name="Isosceles Triangle 22">
            <a:extLst>
              <a:ext uri="{FF2B5EF4-FFF2-40B4-BE49-F238E27FC236}">
                <a16:creationId xmlns:a16="http://schemas.microsoft.com/office/drawing/2014/main" id="{C8B19940-09D1-4817-85EA-D83E8FF5CE61}"/>
              </a:ext>
            </a:extLst>
          </p:cNvPr>
          <p:cNvSpPr/>
          <p:nvPr/>
        </p:nvSpPr>
        <p:spPr bwMode="auto">
          <a:xfrm rot="10800000">
            <a:off x="5787677" y="475229"/>
            <a:ext cx="141942" cy="105354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24" name="Isosceles Triangle 23">
            <a:extLst>
              <a:ext uri="{FF2B5EF4-FFF2-40B4-BE49-F238E27FC236}">
                <a16:creationId xmlns:a16="http://schemas.microsoft.com/office/drawing/2014/main" id="{06CB3818-19AD-474B-A201-D9211BF9785D}"/>
              </a:ext>
            </a:extLst>
          </p:cNvPr>
          <p:cNvSpPr/>
          <p:nvPr/>
        </p:nvSpPr>
        <p:spPr bwMode="auto">
          <a:xfrm rot="10800000">
            <a:off x="11893975" y="466028"/>
            <a:ext cx="141942" cy="105354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4592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DE226D76-DFDC-493D-BC2A-95A0A748F140}"/>
              </a:ext>
            </a:extLst>
          </p:cNvPr>
          <p:cNvSpPr txBox="1"/>
          <p:nvPr/>
        </p:nvSpPr>
        <p:spPr>
          <a:xfrm>
            <a:off x="0" y="342781"/>
            <a:ext cx="6096000" cy="347769"/>
          </a:xfrm>
          <a:prstGeom prst="rect">
            <a:avLst/>
          </a:prstGeom>
          <a:solidFill>
            <a:srgbClr val="585858"/>
          </a:solidFill>
        </p:spPr>
        <p:txBody>
          <a:bodyPr wrap="square" tIns="36000" bIns="3600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1 - Unmet Need </a:t>
            </a:r>
            <a:r>
              <a:rPr kumimoji="0" lang="en-GB" sz="105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Uses a wide variety of treatments 1</a:t>
            </a:r>
            <a:r>
              <a:rPr kumimoji="0" lang="en-GB" sz="1050" i="0" u="none" strike="noStrike" kern="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st</a:t>
            </a:r>
            <a:r>
              <a:rPr kumimoji="0" lang="en-GB" sz="105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 line, including JAK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CE7C206-623B-4EC4-A2AB-386E2D02627B}"/>
              </a:ext>
            </a:extLst>
          </p:cNvPr>
          <p:cNvSpPr txBox="1"/>
          <p:nvPr/>
        </p:nvSpPr>
        <p:spPr>
          <a:xfrm>
            <a:off x="6096000" y="342781"/>
            <a:ext cx="6096000" cy="347769"/>
          </a:xfrm>
          <a:prstGeom prst="rect">
            <a:avLst/>
          </a:prstGeom>
          <a:solidFill>
            <a:srgbClr val="C1B29C"/>
          </a:solidFill>
        </p:spPr>
        <p:txBody>
          <a:bodyPr wrap="square" tIns="36000" bIns="36000" rtlCol="0" anchor="ctr" anchorCtr="0">
            <a:noAutofit/>
          </a:bodyPr>
          <a:lstStyle>
            <a:defPPr>
              <a:defRPr lang="en-US"/>
            </a:defPPr>
            <a:lvl1pPr marR="0" lvl="0" indent="0" algn="ct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900" b="0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r>
              <a:rPr lang="en-GB" sz="1000" b="1" dirty="0"/>
              <a:t>2 - Research</a:t>
            </a:r>
            <a:r>
              <a:rPr lang="en-GB" sz="1000" dirty="0"/>
              <a:t>: Uses a wide variety of treatments 1st line, including JAK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0D9D066-2FC7-4081-9876-23A13E2FFEC1}"/>
              </a:ext>
            </a:extLst>
          </p:cNvPr>
          <p:cNvSpPr txBox="1"/>
          <p:nvPr/>
        </p:nvSpPr>
        <p:spPr>
          <a:xfrm>
            <a:off x="1171404" y="724106"/>
            <a:ext cx="984919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Galapagos Goal: </a:t>
            </a:r>
            <a:r>
              <a:rPr kumimoji="0" lang="en-GB" sz="9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Insert the Galapagos goal from the current adoption stage her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EF9AF84-5726-40D1-ADC3-7A2A5FC3C1FA}"/>
              </a:ext>
            </a:extLst>
          </p:cNvPr>
          <p:cNvSpPr txBox="1"/>
          <p:nvPr/>
        </p:nvSpPr>
        <p:spPr>
          <a:xfrm>
            <a:off x="1171404" y="941659"/>
            <a:ext cx="984919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Adoption Stage Barrier: </a:t>
            </a:r>
            <a:r>
              <a:rPr kumimoji="0" lang="en-GB" sz="9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Insert Galapagos the barrier for the current adoption stage her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697FD9D-49DE-47A0-9A2D-09BEB025AACA}"/>
              </a:ext>
            </a:extLst>
          </p:cNvPr>
          <p:cNvSpPr txBox="1"/>
          <p:nvPr/>
        </p:nvSpPr>
        <p:spPr>
          <a:xfrm>
            <a:off x="0" y="0"/>
            <a:ext cx="6096000" cy="347769"/>
          </a:xfrm>
          <a:prstGeom prst="rect">
            <a:avLst/>
          </a:prstGeom>
          <a:solidFill>
            <a:srgbClr val="A15699"/>
          </a:solidFill>
        </p:spPr>
        <p:txBody>
          <a:bodyPr wrap="square" tIns="36000" bIns="3600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Mavericks</a:t>
            </a:r>
            <a:endParaRPr kumimoji="0" lang="en-GB" sz="105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ＭＳ Ｐゴシック" pitchFamily="-1" charset="-128"/>
              <a:cs typeface="Arial" panose="020B0604020202020204" pitchFamily="34" charset="0"/>
            </a:endParaRPr>
          </a:p>
        </p:txBody>
      </p:sp>
      <p:pic>
        <p:nvPicPr>
          <p:cNvPr id="15" name="Picture 14" descr="A picture containing clock, drawing, room&#10;&#10;Description automatically generated">
            <a:extLst>
              <a:ext uri="{FF2B5EF4-FFF2-40B4-BE49-F238E27FC236}">
                <a16:creationId xmlns:a16="http://schemas.microsoft.com/office/drawing/2014/main" id="{197CB2C7-0C9B-42E2-8F15-003B9D74C01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557339" cy="557339"/>
          </a:xfrm>
          <a:prstGeom prst="rect">
            <a:avLst/>
          </a:prstGeom>
          <a:ln>
            <a:noFill/>
          </a:ln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9F07A1A9-AEB7-4965-861A-C08513ADA4D1}"/>
              </a:ext>
            </a:extLst>
          </p:cNvPr>
          <p:cNvSpPr txBox="1"/>
          <p:nvPr/>
        </p:nvSpPr>
        <p:spPr>
          <a:xfrm>
            <a:off x="6096000" y="0"/>
            <a:ext cx="6096000" cy="347769"/>
          </a:xfrm>
          <a:prstGeom prst="rect">
            <a:avLst/>
          </a:prstGeom>
          <a:solidFill>
            <a:srgbClr val="A15699"/>
          </a:solidFill>
        </p:spPr>
        <p:txBody>
          <a:bodyPr wrap="square" tIns="36000" bIns="3600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Scenario 1</a:t>
            </a:r>
            <a:endParaRPr kumimoji="0" lang="en-GB" sz="1050" i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ＭＳ Ｐゴシック" pitchFamily="-1" charset="-128"/>
              <a:cs typeface="Arial" panose="020B0604020202020204" pitchFamily="34" charset="0"/>
            </a:endParaRPr>
          </a:p>
        </p:txBody>
      </p:sp>
      <p:pic>
        <p:nvPicPr>
          <p:cNvPr id="19" name="Picture 18" descr="Icon&#10;&#10;Description automatically generated">
            <a:extLst>
              <a:ext uri="{FF2B5EF4-FFF2-40B4-BE49-F238E27FC236}">
                <a16:creationId xmlns:a16="http://schemas.microsoft.com/office/drawing/2014/main" id="{1FAD771E-8F4B-4C0B-B124-EF3D16E3624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3109" y="23295"/>
            <a:ext cx="350670" cy="350670"/>
          </a:xfrm>
          <a:prstGeom prst="rect">
            <a:avLst/>
          </a:prstGeom>
        </p:spPr>
      </p:pic>
      <p:sp>
        <p:nvSpPr>
          <p:cNvPr id="20" name="Arrow: Right 19">
            <a:extLst>
              <a:ext uri="{FF2B5EF4-FFF2-40B4-BE49-F238E27FC236}">
                <a16:creationId xmlns:a16="http://schemas.microsoft.com/office/drawing/2014/main" id="{681A9C92-0FC8-46B0-8542-7A7ADC301AB7}"/>
              </a:ext>
            </a:extLst>
          </p:cNvPr>
          <p:cNvSpPr/>
          <p:nvPr/>
        </p:nvSpPr>
        <p:spPr bwMode="auto">
          <a:xfrm>
            <a:off x="5763237" y="373965"/>
            <a:ext cx="478172" cy="293290"/>
          </a:xfrm>
          <a:prstGeom prst="rightArrow">
            <a:avLst/>
          </a:prstGeom>
          <a:solidFill>
            <a:srgbClr val="58585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5EC4ACA-AD91-4640-80C9-57C0E290A8D5}"/>
              </a:ext>
            </a:extLst>
          </p:cNvPr>
          <p:cNvSpPr/>
          <p:nvPr/>
        </p:nvSpPr>
        <p:spPr bwMode="auto">
          <a:xfrm>
            <a:off x="8389" y="1644242"/>
            <a:ext cx="1686187" cy="152679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7DBA80EA-8636-46AF-AB4F-8144EB03A5CD}"/>
              </a:ext>
            </a:extLst>
          </p:cNvPr>
          <p:cNvSpPr/>
          <p:nvPr/>
        </p:nvSpPr>
        <p:spPr bwMode="auto">
          <a:xfrm>
            <a:off x="8389" y="1413411"/>
            <a:ext cx="1686187" cy="230832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1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Tahoma" pitchFamily="-107" charset="0"/>
              </a:rPr>
              <a:t>VAE</a:t>
            </a:r>
            <a:endParaRPr kumimoji="0" lang="en-GB" sz="24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ahoma" pitchFamily="-107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D1183A4-12E6-48A9-954D-97F53B69475B}"/>
              </a:ext>
            </a:extLst>
          </p:cNvPr>
          <p:cNvSpPr/>
          <p:nvPr/>
        </p:nvSpPr>
        <p:spPr bwMode="auto">
          <a:xfrm>
            <a:off x="8389" y="3171039"/>
            <a:ext cx="1686187" cy="230832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6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Tahoma" pitchFamily="-107" charset="0"/>
              </a:rPr>
              <a:t>KPIs – 40 % Open Rate | 25% CTR</a:t>
            </a:r>
            <a:endParaRPr kumimoji="0" lang="en-GB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ahoma" pitchFamily="-107" charset="0"/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C352F4D3-1981-4926-98A3-438DA2E1ABF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794" y="2699287"/>
            <a:ext cx="1088775" cy="438388"/>
          </a:xfrm>
          <a:prstGeom prst="rect">
            <a:avLst/>
          </a:prstGeom>
        </p:spPr>
      </p:pic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3249B83B-84BB-4A3E-81BF-EC28611A31DA}"/>
              </a:ext>
            </a:extLst>
          </p:cNvPr>
          <p:cNvCxnSpPr/>
          <p:nvPr/>
        </p:nvCxnSpPr>
        <p:spPr bwMode="auto">
          <a:xfrm>
            <a:off x="8389" y="2635250"/>
            <a:ext cx="1686187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30" name="Rectangle 29">
            <a:hlinkClick r:id="rId5"/>
            <a:extLst>
              <a:ext uri="{FF2B5EF4-FFF2-40B4-BE49-F238E27FC236}">
                <a16:creationId xmlns:a16="http://schemas.microsoft.com/office/drawing/2014/main" id="{907DB02E-E3DB-4B20-9297-E0658F938352}"/>
              </a:ext>
            </a:extLst>
          </p:cNvPr>
          <p:cNvSpPr/>
          <p:nvPr/>
        </p:nvSpPr>
        <p:spPr bwMode="auto">
          <a:xfrm>
            <a:off x="465244" y="3401871"/>
            <a:ext cx="780046" cy="138283"/>
          </a:xfrm>
          <a:prstGeom prst="rect">
            <a:avLst/>
          </a:prstGeom>
          <a:solidFill>
            <a:schemeClr val="accent5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600" i="0" u="sng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Tahoma" pitchFamily="-107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VAE Playbook  </a:t>
            </a:r>
            <a:endParaRPr kumimoji="0" lang="en-GB" sz="600" i="0" u="sng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ahoma" pitchFamily="-107" charset="0"/>
            </a:endParaRPr>
          </a:p>
        </p:txBody>
      </p:sp>
      <p:pic>
        <p:nvPicPr>
          <p:cNvPr id="32" name="Graphic 31" descr="Cursor with solid fill">
            <a:extLst>
              <a:ext uri="{FF2B5EF4-FFF2-40B4-BE49-F238E27FC236}">
                <a16:creationId xmlns:a16="http://schemas.microsoft.com/office/drawing/2014/main" id="{FB9F9049-B62F-4E58-A7C7-AD2DA34AB79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9282" y="3399603"/>
            <a:ext cx="128044" cy="128044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2D5F6816-D8D1-405D-BC21-896FB6F24BD3}"/>
              </a:ext>
            </a:extLst>
          </p:cNvPr>
          <p:cNvSpPr txBox="1"/>
          <p:nvPr/>
        </p:nvSpPr>
        <p:spPr>
          <a:xfrm>
            <a:off x="78436" y="1737412"/>
            <a:ext cx="154609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chemeClr val="tx2"/>
              </a:buClr>
            </a:pPr>
            <a:r>
              <a:rPr lang="en-GB" sz="1000" b="1" dirty="0"/>
              <a:t>Goal of Interaction</a:t>
            </a:r>
          </a:p>
          <a:p>
            <a:pPr>
              <a:buClr>
                <a:schemeClr val="tx2"/>
              </a:buClr>
            </a:pPr>
            <a:endParaRPr lang="en-GB" sz="1000" dirty="0"/>
          </a:p>
          <a:p>
            <a:pPr marL="108000" indent="-10800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sz="1000" dirty="0"/>
              <a:t>Email Message / theme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3AF11C3-2B49-4FB7-B1BC-5DB18F9A835B}"/>
              </a:ext>
            </a:extLst>
          </p:cNvPr>
          <p:cNvSpPr/>
          <p:nvPr/>
        </p:nvSpPr>
        <p:spPr bwMode="auto">
          <a:xfrm>
            <a:off x="1176480" y="2699287"/>
            <a:ext cx="495171" cy="439374"/>
          </a:xfrm>
          <a:prstGeom prst="rect">
            <a:avLst/>
          </a:prstGeom>
          <a:solidFill>
            <a:schemeClr val="accent5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b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600" u="sng" dirty="0">
                <a:solidFill>
                  <a:schemeClr val="bg1"/>
                </a:solidFill>
                <a:latin typeface="Tahoma" pitchFamily="-107" charset="0"/>
              </a:rPr>
              <a:t>Link to Content</a:t>
            </a:r>
          </a:p>
        </p:txBody>
      </p:sp>
      <p:pic>
        <p:nvPicPr>
          <p:cNvPr id="37" name="Graphic 36" descr="Rope Knot with solid fill">
            <a:extLst>
              <a:ext uri="{FF2B5EF4-FFF2-40B4-BE49-F238E27FC236}">
                <a16:creationId xmlns:a16="http://schemas.microsoft.com/office/drawing/2014/main" id="{84512670-9D8F-410C-BC26-BA20C06CFDD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340418" y="2745917"/>
            <a:ext cx="149512" cy="149512"/>
          </a:xfrm>
          <a:prstGeom prst="rect">
            <a:avLst/>
          </a:prstGeom>
        </p:spPr>
      </p:pic>
      <p:sp>
        <p:nvSpPr>
          <p:cNvPr id="74" name="Rectangle 73">
            <a:extLst>
              <a:ext uri="{FF2B5EF4-FFF2-40B4-BE49-F238E27FC236}">
                <a16:creationId xmlns:a16="http://schemas.microsoft.com/office/drawing/2014/main" id="{CF50AA5F-96BC-485B-A81E-E0C5E36E80AF}"/>
              </a:ext>
            </a:extLst>
          </p:cNvPr>
          <p:cNvSpPr/>
          <p:nvPr/>
        </p:nvSpPr>
        <p:spPr bwMode="auto">
          <a:xfrm>
            <a:off x="1751981" y="4256217"/>
            <a:ext cx="1686187" cy="152679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31213884-41E1-426A-933F-51F6C448EF42}"/>
              </a:ext>
            </a:extLst>
          </p:cNvPr>
          <p:cNvSpPr/>
          <p:nvPr/>
        </p:nvSpPr>
        <p:spPr bwMode="auto">
          <a:xfrm>
            <a:off x="1751981" y="4025386"/>
            <a:ext cx="1686187" cy="230832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100" b="1" dirty="0">
                <a:solidFill>
                  <a:schemeClr val="bg1"/>
                </a:solidFill>
                <a:latin typeface="Tahoma" pitchFamily="-107" charset="0"/>
              </a:rPr>
              <a:t>F2F Visit</a:t>
            </a:r>
            <a:endParaRPr kumimoji="0" lang="en-GB" sz="24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ahoma" pitchFamily="-107" charset="0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F35B057C-F3A3-4F22-AB2B-1CC9F004B2A3}"/>
              </a:ext>
            </a:extLst>
          </p:cNvPr>
          <p:cNvSpPr/>
          <p:nvPr/>
        </p:nvSpPr>
        <p:spPr bwMode="auto">
          <a:xfrm>
            <a:off x="1751981" y="5783014"/>
            <a:ext cx="1686187" cy="230832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6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Tahoma" pitchFamily="-107" charset="0"/>
              </a:rPr>
              <a:t>KPIs – Call length| Content Reaction</a:t>
            </a:r>
            <a:endParaRPr kumimoji="0" lang="en-GB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ahoma" pitchFamily="-107" charset="0"/>
            </a:endParaRPr>
          </a:p>
        </p:txBody>
      </p: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B19849EC-65FC-4E0D-AB76-A9C76CDFD381}"/>
              </a:ext>
            </a:extLst>
          </p:cNvPr>
          <p:cNvCxnSpPr/>
          <p:nvPr/>
        </p:nvCxnSpPr>
        <p:spPr bwMode="auto">
          <a:xfrm>
            <a:off x="1751981" y="5247225"/>
            <a:ext cx="1686187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80" name="Rectangle 79">
            <a:hlinkClick r:id="rId5"/>
            <a:extLst>
              <a:ext uri="{FF2B5EF4-FFF2-40B4-BE49-F238E27FC236}">
                <a16:creationId xmlns:a16="http://schemas.microsoft.com/office/drawing/2014/main" id="{02CBDA2C-822E-434D-BE85-2C3CCFCD8027}"/>
              </a:ext>
            </a:extLst>
          </p:cNvPr>
          <p:cNvSpPr/>
          <p:nvPr/>
        </p:nvSpPr>
        <p:spPr bwMode="auto">
          <a:xfrm>
            <a:off x="2208836" y="6013846"/>
            <a:ext cx="780046" cy="138283"/>
          </a:xfrm>
          <a:prstGeom prst="rect">
            <a:avLst/>
          </a:prstGeom>
          <a:solidFill>
            <a:schemeClr val="accent5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600" i="0" u="sng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Tahoma" pitchFamily="-107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CLM Playbook  </a:t>
            </a:r>
            <a:endParaRPr kumimoji="0" lang="en-GB" sz="600" i="0" u="sng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ahoma" pitchFamily="-107" charset="0"/>
            </a:endParaRPr>
          </a:p>
        </p:txBody>
      </p:sp>
      <p:pic>
        <p:nvPicPr>
          <p:cNvPr id="81" name="Graphic 80" descr="Cursor with solid fill">
            <a:extLst>
              <a:ext uri="{FF2B5EF4-FFF2-40B4-BE49-F238E27FC236}">
                <a16:creationId xmlns:a16="http://schemas.microsoft.com/office/drawing/2014/main" id="{91ADE453-E1D1-4502-AD92-8640C962CD4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812874" y="6011578"/>
            <a:ext cx="128044" cy="128044"/>
          </a:xfrm>
          <a:prstGeom prst="rect">
            <a:avLst/>
          </a:prstGeom>
        </p:spPr>
      </p:pic>
      <p:sp>
        <p:nvSpPr>
          <p:cNvPr id="82" name="TextBox 81">
            <a:extLst>
              <a:ext uri="{FF2B5EF4-FFF2-40B4-BE49-F238E27FC236}">
                <a16:creationId xmlns:a16="http://schemas.microsoft.com/office/drawing/2014/main" id="{4221E554-3F47-4704-880D-3D914EE0AE73}"/>
              </a:ext>
            </a:extLst>
          </p:cNvPr>
          <p:cNvSpPr txBox="1"/>
          <p:nvPr/>
        </p:nvSpPr>
        <p:spPr>
          <a:xfrm>
            <a:off x="1822028" y="4349387"/>
            <a:ext cx="154609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chemeClr val="tx2"/>
              </a:buClr>
            </a:pPr>
            <a:r>
              <a:rPr lang="en-GB" sz="1000" b="1" dirty="0"/>
              <a:t>Goal of Interaction</a:t>
            </a:r>
          </a:p>
          <a:p>
            <a:pPr>
              <a:buClr>
                <a:schemeClr val="tx2"/>
              </a:buClr>
            </a:pPr>
            <a:endParaRPr lang="en-GB" sz="1000" dirty="0"/>
          </a:p>
          <a:p>
            <a:pPr marL="108000" indent="-10800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sz="1000" dirty="0"/>
              <a:t>Key Messages to deliver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ED2297F6-10CC-49C2-80A2-0B050A9BEA47}"/>
              </a:ext>
            </a:extLst>
          </p:cNvPr>
          <p:cNvSpPr/>
          <p:nvPr/>
        </p:nvSpPr>
        <p:spPr bwMode="auto">
          <a:xfrm>
            <a:off x="2920072" y="5311262"/>
            <a:ext cx="495171" cy="439374"/>
          </a:xfrm>
          <a:prstGeom prst="rect">
            <a:avLst/>
          </a:prstGeom>
          <a:solidFill>
            <a:schemeClr val="accent5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b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600" u="sng" dirty="0">
                <a:solidFill>
                  <a:schemeClr val="bg1"/>
                </a:solidFill>
                <a:latin typeface="Tahoma" pitchFamily="-107" charset="0"/>
              </a:rPr>
              <a:t>Link to Content</a:t>
            </a:r>
          </a:p>
        </p:txBody>
      </p:sp>
      <p:pic>
        <p:nvPicPr>
          <p:cNvPr id="84" name="Graphic 83" descr="Rope Knot with solid fill">
            <a:extLst>
              <a:ext uri="{FF2B5EF4-FFF2-40B4-BE49-F238E27FC236}">
                <a16:creationId xmlns:a16="http://schemas.microsoft.com/office/drawing/2014/main" id="{53F8B173-723F-45D7-A793-6713BF7ADB3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084010" y="5357892"/>
            <a:ext cx="149512" cy="149512"/>
          </a:xfrm>
          <a:prstGeom prst="rect">
            <a:avLst/>
          </a:prstGeom>
        </p:spPr>
      </p:pic>
      <p:pic>
        <p:nvPicPr>
          <p:cNvPr id="85" name="Picture 84">
            <a:extLst>
              <a:ext uri="{FF2B5EF4-FFF2-40B4-BE49-F238E27FC236}">
                <a16:creationId xmlns:a16="http://schemas.microsoft.com/office/drawing/2014/main" id="{48F90E7F-3396-45F9-ABD9-AD5144A1123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964243" y="5305576"/>
            <a:ext cx="778958" cy="438814"/>
          </a:xfrm>
          <a:prstGeom prst="rect">
            <a:avLst/>
          </a:prstGeom>
        </p:spPr>
      </p:pic>
      <p:cxnSp>
        <p:nvCxnSpPr>
          <p:cNvPr id="87" name="Connector: Elbow 86">
            <a:extLst>
              <a:ext uri="{FF2B5EF4-FFF2-40B4-BE49-F238E27FC236}">
                <a16:creationId xmlns:a16="http://schemas.microsoft.com/office/drawing/2014/main" id="{EBA2F40A-FEC0-40FA-B19A-1236FA753E82}"/>
              </a:ext>
            </a:extLst>
          </p:cNvPr>
          <p:cNvCxnSpPr>
            <a:cxnSpLocks/>
            <a:stCxn id="22" idx="3"/>
            <a:endCxn id="75" idx="0"/>
          </p:cNvCxnSpPr>
          <p:nvPr/>
        </p:nvCxnSpPr>
        <p:spPr bwMode="auto">
          <a:xfrm>
            <a:off x="1694576" y="1528827"/>
            <a:ext cx="900499" cy="2496559"/>
          </a:xfrm>
          <a:prstGeom prst="bentConnector2">
            <a:avLst/>
          </a:prstGeom>
          <a:solidFill>
            <a:schemeClr val="accent1"/>
          </a:solidFill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32" name="TextBox 131">
            <a:extLst>
              <a:ext uri="{FF2B5EF4-FFF2-40B4-BE49-F238E27FC236}">
                <a16:creationId xmlns:a16="http://schemas.microsoft.com/office/drawing/2014/main" id="{524010D7-D822-4B0A-8837-659404E1AD27}"/>
              </a:ext>
            </a:extLst>
          </p:cNvPr>
          <p:cNvSpPr txBox="1"/>
          <p:nvPr/>
        </p:nvSpPr>
        <p:spPr>
          <a:xfrm>
            <a:off x="2003807" y="2145528"/>
            <a:ext cx="1210152" cy="83099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sz="800" b="1" dirty="0"/>
              <a:t>Informative links</a:t>
            </a:r>
          </a:p>
          <a:p>
            <a:pPr algn="ctr"/>
            <a:r>
              <a:rPr lang="en-GB" sz="800" u="sng" dirty="0"/>
              <a:t>How</a:t>
            </a:r>
            <a:r>
              <a:rPr lang="en-GB" sz="800" dirty="0"/>
              <a:t> the touchpoints are connected with enough room for some detail, links and more information</a:t>
            </a:r>
          </a:p>
        </p:txBody>
      </p:sp>
    </p:spTree>
    <p:extLst>
      <p:ext uri="{BB962C8B-B14F-4D97-AF65-F5344CB8AC3E}">
        <p14:creationId xmlns:p14="http://schemas.microsoft.com/office/powerpoint/2010/main" val="4042398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DE226D76-DFDC-493D-BC2A-95A0A748F140}"/>
              </a:ext>
            </a:extLst>
          </p:cNvPr>
          <p:cNvSpPr txBox="1"/>
          <p:nvPr/>
        </p:nvSpPr>
        <p:spPr>
          <a:xfrm>
            <a:off x="0" y="342781"/>
            <a:ext cx="6096000" cy="347769"/>
          </a:xfrm>
          <a:prstGeom prst="rect">
            <a:avLst/>
          </a:prstGeom>
          <a:solidFill>
            <a:srgbClr val="585858"/>
          </a:solidFill>
        </p:spPr>
        <p:txBody>
          <a:bodyPr wrap="square" tIns="36000" bIns="3600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1 - Unmet Need </a:t>
            </a:r>
            <a:r>
              <a:rPr kumimoji="0" lang="en-GB" sz="105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Uses a wide variety of treatments 1</a:t>
            </a:r>
            <a:r>
              <a:rPr kumimoji="0" lang="en-GB" sz="1050" i="0" u="none" strike="noStrike" kern="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st</a:t>
            </a:r>
            <a:r>
              <a:rPr kumimoji="0" lang="en-GB" sz="105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 line, including JAK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CE7C206-623B-4EC4-A2AB-386E2D02627B}"/>
              </a:ext>
            </a:extLst>
          </p:cNvPr>
          <p:cNvSpPr txBox="1"/>
          <p:nvPr/>
        </p:nvSpPr>
        <p:spPr>
          <a:xfrm>
            <a:off x="6096000" y="342781"/>
            <a:ext cx="6096000" cy="347769"/>
          </a:xfrm>
          <a:prstGeom prst="rect">
            <a:avLst/>
          </a:prstGeom>
          <a:solidFill>
            <a:srgbClr val="C1B29C"/>
          </a:solidFill>
        </p:spPr>
        <p:txBody>
          <a:bodyPr wrap="square" tIns="36000" bIns="36000" rtlCol="0" anchor="ctr" anchorCtr="0">
            <a:noAutofit/>
          </a:bodyPr>
          <a:lstStyle>
            <a:defPPr>
              <a:defRPr lang="en-US"/>
            </a:defPPr>
            <a:lvl1pPr marR="0" lvl="0" indent="0" algn="ct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900" b="0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r>
              <a:rPr lang="en-GB" sz="1000" b="1" dirty="0"/>
              <a:t>2 - Research</a:t>
            </a:r>
            <a:r>
              <a:rPr lang="en-GB" sz="1000" dirty="0"/>
              <a:t>: Uses a wide variety of treatments 1st line, including JAK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0D9D066-2FC7-4081-9876-23A13E2FFEC1}"/>
              </a:ext>
            </a:extLst>
          </p:cNvPr>
          <p:cNvSpPr txBox="1"/>
          <p:nvPr/>
        </p:nvSpPr>
        <p:spPr>
          <a:xfrm>
            <a:off x="1171404" y="724106"/>
            <a:ext cx="984919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Galapagos Goal: </a:t>
            </a:r>
            <a:r>
              <a:rPr kumimoji="0" lang="en-GB" sz="9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Insert the Galapagos goal from the current adoption stage her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EF9AF84-5726-40D1-ADC3-7A2A5FC3C1FA}"/>
              </a:ext>
            </a:extLst>
          </p:cNvPr>
          <p:cNvSpPr txBox="1"/>
          <p:nvPr/>
        </p:nvSpPr>
        <p:spPr>
          <a:xfrm>
            <a:off x="1171404" y="941659"/>
            <a:ext cx="984919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Adoption Stage Barrier: </a:t>
            </a:r>
            <a:r>
              <a:rPr kumimoji="0" lang="en-GB" sz="9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Insert Galapagos the barrier for the current adoption stage here</a:t>
            </a:r>
          </a:p>
        </p:txBody>
      </p:sp>
      <p:sp>
        <p:nvSpPr>
          <p:cNvPr id="20" name="Arrow: Right 19">
            <a:extLst>
              <a:ext uri="{FF2B5EF4-FFF2-40B4-BE49-F238E27FC236}">
                <a16:creationId xmlns:a16="http://schemas.microsoft.com/office/drawing/2014/main" id="{681A9C92-0FC8-46B0-8542-7A7ADC301AB7}"/>
              </a:ext>
            </a:extLst>
          </p:cNvPr>
          <p:cNvSpPr/>
          <p:nvPr/>
        </p:nvSpPr>
        <p:spPr bwMode="auto">
          <a:xfrm>
            <a:off x="5763237" y="373965"/>
            <a:ext cx="478172" cy="293290"/>
          </a:xfrm>
          <a:prstGeom prst="rightArrow">
            <a:avLst/>
          </a:prstGeom>
          <a:solidFill>
            <a:srgbClr val="58585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BAA8A891-461D-43B4-B568-9B7D922F506B}"/>
              </a:ext>
            </a:extLst>
          </p:cNvPr>
          <p:cNvSpPr txBox="1"/>
          <p:nvPr/>
        </p:nvSpPr>
        <p:spPr>
          <a:xfrm>
            <a:off x="0" y="0"/>
            <a:ext cx="12192000" cy="347769"/>
          </a:xfrm>
          <a:prstGeom prst="rect">
            <a:avLst/>
          </a:prstGeom>
          <a:solidFill>
            <a:schemeClr val="accent1"/>
          </a:solidFill>
        </p:spPr>
        <p:txBody>
          <a:bodyPr wrap="square" tIns="36000" bIns="3600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Scenario 1</a:t>
            </a:r>
            <a:endParaRPr kumimoji="0" lang="en-GB" sz="1050" i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ＭＳ Ｐゴシック" pitchFamily="-1" charset="-128"/>
              <a:cs typeface="Arial" panose="020B0604020202020204" pitchFamily="34" charset="0"/>
            </a:endParaRPr>
          </a:p>
        </p:txBody>
      </p:sp>
      <p:pic>
        <p:nvPicPr>
          <p:cNvPr id="36" name="Picture 35" descr="Icon&#10;&#10;Description automatically generated">
            <a:extLst>
              <a:ext uri="{FF2B5EF4-FFF2-40B4-BE49-F238E27FC236}">
                <a16:creationId xmlns:a16="http://schemas.microsoft.com/office/drawing/2014/main" id="{10731EDE-360E-4B3F-A806-DA55E2B0A59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3109" y="23295"/>
            <a:ext cx="350670" cy="350670"/>
          </a:xfrm>
          <a:prstGeom prst="rect">
            <a:avLst/>
          </a:prstGeom>
        </p:spPr>
      </p:pic>
      <p:sp>
        <p:nvSpPr>
          <p:cNvPr id="38" name="Rectangle 37">
            <a:extLst>
              <a:ext uri="{FF2B5EF4-FFF2-40B4-BE49-F238E27FC236}">
                <a16:creationId xmlns:a16="http://schemas.microsoft.com/office/drawing/2014/main" id="{55825B4E-5EA0-420B-AE04-26237FE30041}"/>
              </a:ext>
            </a:extLst>
          </p:cNvPr>
          <p:cNvSpPr/>
          <p:nvPr/>
        </p:nvSpPr>
        <p:spPr bwMode="auto">
          <a:xfrm>
            <a:off x="36964" y="1644242"/>
            <a:ext cx="1686187" cy="152679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90A113C4-9442-47B4-ADBF-2B859F9CB4B0}"/>
              </a:ext>
            </a:extLst>
          </p:cNvPr>
          <p:cNvSpPr/>
          <p:nvPr/>
        </p:nvSpPr>
        <p:spPr bwMode="auto">
          <a:xfrm>
            <a:off x="36964" y="1413411"/>
            <a:ext cx="1686187" cy="230832"/>
          </a:xfrm>
          <a:prstGeom prst="rect">
            <a:avLst/>
          </a:prstGeom>
          <a:solidFill>
            <a:srgbClr val="A1569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1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Tahoma" pitchFamily="-107" charset="0"/>
              </a:rPr>
              <a:t>VAE</a:t>
            </a:r>
            <a:endParaRPr kumimoji="0" lang="en-GB" sz="24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ahoma" pitchFamily="-107" charset="0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F6AC725A-A18B-474E-B9A2-CD8EF6BEB748}"/>
              </a:ext>
            </a:extLst>
          </p:cNvPr>
          <p:cNvSpPr/>
          <p:nvPr/>
        </p:nvSpPr>
        <p:spPr bwMode="auto">
          <a:xfrm>
            <a:off x="36964" y="3171039"/>
            <a:ext cx="1686187" cy="230832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6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Tahoma" pitchFamily="-107" charset="0"/>
              </a:rPr>
              <a:t>KPIs – 40 % Open Rate | 25% CTR</a:t>
            </a:r>
            <a:endParaRPr kumimoji="0" lang="en-GB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ahoma" pitchFamily="-107" charset="0"/>
            </a:endParaRPr>
          </a:p>
        </p:txBody>
      </p:sp>
      <p:pic>
        <p:nvPicPr>
          <p:cNvPr id="41" name="Picture 40">
            <a:extLst>
              <a:ext uri="{FF2B5EF4-FFF2-40B4-BE49-F238E27FC236}">
                <a16:creationId xmlns:a16="http://schemas.microsoft.com/office/drawing/2014/main" id="{04DE4AAF-6A01-43BF-A1D7-B96F025B498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369" y="2699287"/>
            <a:ext cx="1088775" cy="438388"/>
          </a:xfrm>
          <a:prstGeom prst="rect">
            <a:avLst/>
          </a:prstGeom>
        </p:spPr>
      </p:pic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32CF761B-4B23-4F59-AE59-2EAA707D5275}"/>
              </a:ext>
            </a:extLst>
          </p:cNvPr>
          <p:cNvCxnSpPr/>
          <p:nvPr/>
        </p:nvCxnSpPr>
        <p:spPr bwMode="auto">
          <a:xfrm>
            <a:off x="36964" y="2635250"/>
            <a:ext cx="1686187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43" name="Rectangle 42">
            <a:hlinkClick r:id="rId4"/>
            <a:extLst>
              <a:ext uri="{FF2B5EF4-FFF2-40B4-BE49-F238E27FC236}">
                <a16:creationId xmlns:a16="http://schemas.microsoft.com/office/drawing/2014/main" id="{192F268A-AF07-4385-9B0A-810C8942F0B3}"/>
              </a:ext>
            </a:extLst>
          </p:cNvPr>
          <p:cNvSpPr/>
          <p:nvPr/>
        </p:nvSpPr>
        <p:spPr bwMode="auto">
          <a:xfrm>
            <a:off x="493819" y="3401871"/>
            <a:ext cx="780046" cy="138283"/>
          </a:xfrm>
          <a:prstGeom prst="rect">
            <a:avLst/>
          </a:prstGeom>
          <a:solidFill>
            <a:schemeClr val="accent5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600" i="0" u="sng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Tahoma" pitchFamily="-107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VAE Playbook  </a:t>
            </a:r>
            <a:endParaRPr kumimoji="0" lang="en-GB" sz="600" i="0" u="sng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ahoma" pitchFamily="-107" charset="0"/>
            </a:endParaRPr>
          </a:p>
        </p:txBody>
      </p:sp>
      <p:pic>
        <p:nvPicPr>
          <p:cNvPr id="44" name="Graphic 43" descr="Cursor with solid fill">
            <a:extLst>
              <a:ext uri="{FF2B5EF4-FFF2-40B4-BE49-F238E27FC236}">
                <a16:creationId xmlns:a16="http://schemas.microsoft.com/office/drawing/2014/main" id="{77482B16-5968-42C4-8620-0CA45D0B0A8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7857" y="3399603"/>
            <a:ext cx="128044" cy="128044"/>
          </a:xfrm>
          <a:prstGeom prst="rect">
            <a:avLst/>
          </a:prstGeom>
        </p:spPr>
      </p:pic>
      <p:sp>
        <p:nvSpPr>
          <p:cNvPr id="45" name="TextBox 44">
            <a:extLst>
              <a:ext uri="{FF2B5EF4-FFF2-40B4-BE49-F238E27FC236}">
                <a16:creationId xmlns:a16="http://schemas.microsoft.com/office/drawing/2014/main" id="{377B2361-6958-4673-BA0A-3F4E122240F2}"/>
              </a:ext>
            </a:extLst>
          </p:cNvPr>
          <p:cNvSpPr txBox="1"/>
          <p:nvPr/>
        </p:nvSpPr>
        <p:spPr>
          <a:xfrm>
            <a:off x="107011" y="1737412"/>
            <a:ext cx="154609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chemeClr val="tx2"/>
              </a:buClr>
            </a:pPr>
            <a:r>
              <a:rPr lang="en-GB" sz="1000" b="1" dirty="0"/>
              <a:t>Goal of Interaction</a:t>
            </a:r>
          </a:p>
          <a:p>
            <a:pPr>
              <a:buClr>
                <a:schemeClr val="tx2"/>
              </a:buClr>
            </a:pPr>
            <a:endParaRPr lang="en-GB" sz="1000" dirty="0"/>
          </a:p>
          <a:p>
            <a:pPr marL="108000" indent="-10800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sz="1000" dirty="0"/>
              <a:t>Email Message / theme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9AE0AD14-3F7B-4171-B7F2-76A5BB63996B}"/>
              </a:ext>
            </a:extLst>
          </p:cNvPr>
          <p:cNvSpPr/>
          <p:nvPr/>
        </p:nvSpPr>
        <p:spPr bwMode="auto">
          <a:xfrm>
            <a:off x="1205055" y="2699287"/>
            <a:ext cx="495171" cy="439374"/>
          </a:xfrm>
          <a:prstGeom prst="rect">
            <a:avLst/>
          </a:prstGeom>
          <a:solidFill>
            <a:schemeClr val="accent5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b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600" u="sng" dirty="0">
                <a:solidFill>
                  <a:schemeClr val="bg1"/>
                </a:solidFill>
                <a:latin typeface="Tahoma" pitchFamily="-107" charset="0"/>
              </a:rPr>
              <a:t>Link to Content</a:t>
            </a:r>
          </a:p>
        </p:txBody>
      </p:sp>
      <p:pic>
        <p:nvPicPr>
          <p:cNvPr id="47" name="Graphic 46" descr="Rope Knot with solid fill">
            <a:extLst>
              <a:ext uri="{FF2B5EF4-FFF2-40B4-BE49-F238E27FC236}">
                <a16:creationId xmlns:a16="http://schemas.microsoft.com/office/drawing/2014/main" id="{CCE00872-C296-4678-9485-34CE9CAA135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368993" y="2745917"/>
            <a:ext cx="149512" cy="149512"/>
          </a:xfrm>
          <a:prstGeom prst="rect">
            <a:avLst/>
          </a:prstGeom>
        </p:spPr>
      </p:pic>
      <p:sp>
        <p:nvSpPr>
          <p:cNvPr id="48" name="Rectangle 47">
            <a:extLst>
              <a:ext uri="{FF2B5EF4-FFF2-40B4-BE49-F238E27FC236}">
                <a16:creationId xmlns:a16="http://schemas.microsoft.com/office/drawing/2014/main" id="{CED44085-76CA-4BB8-9C66-E63013345373}"/>
              </a:ext>
            </a:extLst>
          </p:cNvPr>
          <p:cNvSpPr/>
          <p:nvPr/>
        </p:nvSpPr>
        <p:spPr bwMode="auto">
          <a:xfrm>
            <a:off x="36964" y="4495543"/>
            <a:ext cx="1686187" cy="152679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F321FCF9-21D4-4F13-A346-32F6FAC8A622}"/>
              </a:ext>
            </a:extLst>
          </p:cNvPr>
          <p:cNvSpPr/>
          <p:nvPr/>
        </p:nvSpPr>
        <p:spPr bwMode="auto">
          <a:xfrm>
            <a:off x="36964" y="4264712"/>
            <a:ext cx="1686187" cy="230832"/>
          </a:xfrm>
          <a:prstGeom prst="rect">
            <a:avLst/>
          </a:prstGeom>
          <a:solidFill>
            <a:srgbClr val="8CA50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1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Tahoma" pitchFamily="-107" charset="0"/>
              </a:rPr>
              <a:t>VAE</a:t>
            </a:r>
            <a:endParaRPr kumimoji="0" lang="en-GB" sz="24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ahoma" pitchFamily="-107" charset="0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F1647C69-3073-49CC-948B-176C1E5BD5AD}"/>
              </a:ext>
            </a:extLst>
          </p:cNvPr>
          <p:cNvSpPr/>
          <p:nvPr/>
        </p:nvSpPr>
        <p:spPr bwMode="auto">
          <a:xfrm>
            <a:off x="36964" y="6022340"/>
            <a:ext cx="1686187" cy="230832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6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Tahoma" pitchFamily="-107" charset="0"/>
              </a:rPr>
              <a:t>KPIs – 40 % Open Rate | 25% CTR</a:t>
            </a:r>
            <a:endParaRPr kumimoji="0" lang="en-GB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ahoma" pitchFamily="-107" charset="0"/>
            </a:endParaRPr>
          </a:p>
        </p:txBody>
      </p:sp>
      <p:pic>
        <p:nvPicPr>
          <p:cNvPr id="51" name="Picture 50">
            <a:extLst>
              <a:ext uri="{FF2B5EF4-FFF2-40B4-BE49-F238E27FC236}">
                <a16:creationId xmlns:a16="http://schemas.microsoft.com/office/drawing/2014/main" id="{49A085C3-AEC8-4E9A-972F-89F1AFA7996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369" y="5550588"/>
            <a:ext cx="1088775" cy="438388"/>
          </a:xfrm>
          <a:prstGeom prst="rect">
            <a:avLst/>
          </a:prstGeom>
        </p:spPr>
      </p:pic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2D2DED7D-3777-45C7-9E9F-3FFBFDECA242}"/>
              </a:ext>
            </a:extLst>
          </p:cNvPr>
          <p:cNvCxnSpPr/>
          <p:nvPr/>
        </p:nvCxnSpPr>
        <p:spPr bwMode="auto">
          <a:xfrm>
            <a:off x="36964" y="5486551"/>
            <a:ext cx="1686187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53" name="Rectangle 52">
            <a:hlinkClick r:id="rId4"/>
            <a:extLst>
              <a:ext uri="{FF2B5EF4-FFF2-40B4-BE49-F238E27FC236}">
                <a16:creationId xmlns:a16="http://schemas.microsoft.com/office/drawing/2014/main" id="{8D6E85D1-C1AC-48D3-8124-F9F785EBCEA5}"/>
              </a:ext>
            </a:extLst>
          </p:cNvPr>
          <p:cNvSpPr/>
          <p:nvPr/>
        </p:nvSpPr>
        <p:spPr bwMode="auto">
          <a:xfrm>
            <a:off x="493819" y="6253172"/>
            <a:ext cx="780046" cy="138283"/>
          </a:xfrm>
          <a:prstGeom prst="rect">
            <a:avLst/>
          </a:prstGeom>
          <a:solidFill>
            <a:schemeClr val="accent5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600" i="0" u="sng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Tahoma" pitchFamily="-107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VAE Playbook  </a:t>
            </a:r>
            <a:endParaRPr kumimoji="0" lang="en-GB" sz="600" i="0" u="sng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ahoma" pitchFamily="-107" charset="0"/>
            </a:endParaRPr>
          </a:p>
        </p:txBody>
      </p:sp>
      <p:pic>
        <p:nvPicPr>
          <p:cNvPr id="54" name="Graphic 53" descr="Cursor with solid fill">
            <a:extLst>
              <a:ext uri="{FF2B5EF4-FFF2-40B4-BE49-F238E27FC236}">
                <a16:creationId xmlns:a16="http://schemas.microsoft.com/office/drawing/2014/main" id="{9B451FC6-84F2-48C1-BDEB-B9488A3196F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7857" y="6250904"/>
            <a:ext cx="128044" cy="128044"/>
          </a:xfrm>
          <a:prstGeom prst="rect">
            <a:avLst/>
          </a:prstGeom>
        </p:spPr>
      </p:pic>
      <p:sp>
        <p:nvSpPr>
          <p:cNvPr id="55" name="TextBox 54">
            <a:extLst>
              <a:ext uri="{FF2B5EF4-FFF2-40B4-BE49-F238E27FC236}">
                <a16:creationId xmlns:a16="http://schemas.microsoft.com/office/drawing/2014/main" id="{9A3B46CA-678C-4848-8074-56520DD25313}"/>
              </a:ext>
            </a:extLst>
          </p:cNvPr>
          <p:cNvSpPr txBox="1"/>
          <p:nvPr/>
        </p:nvSpPr>
        <p:spPr>
          <a:xfrm>
            <a:off x="107011" y="4588713"/>
            <a:ext cx="154609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chemeClr val="tx2"/>
              </a:buClr>
            </a:pPr>
            <a:r>
              <a:rPr lang="en-GB" sz="1000" b="1" dirty="0"/>
              <a:t>Goal of Interaction</a:t>
            </a:r>
          </a:p>
          <a:p>
            <a:pPr>
              <a:buClr>
                <a:schemeClr val="tx2"/>
              </a:buClr>
            </a:pPr>
            <a:endParaRPr lang="en-GB" sz="1000" dirty="0"/>
          </a:p>
          <a:p>
            <a:pPr marL="108000" indent="-10800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sz="1000" dirty="0"/>
              <a:t>Email Message / theme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265D45C1-755C-490C-A78F-A8A0BF73702A}"/>
              </a:ext>
            </a:extLst>
          </p:cNvPr>
          <p:cNvSpPr/>
          <p:nvPr/>
        </p:nvSpPr>
        <p:spPr bwMode="auto">
          <a:xfrm>
            <a:off x="1205055" y="5550588"/>
            <a:ext cx="495171" cy="439374"/>
          </a:xfrm>
          <a:prstGeom prst="rect">
            <a:avLst/>
          </a:prstGeom>
          <a:solidFill>
            <a:schemeClr val="accent5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b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600" u="sng" dirty="0">
                <a:solidFill>
                  <a:schemeClr val="bg1"/>
                </a:solidFill>
                <a:latin typeface="Tahoma" pitchFamily="-107" charset="0"/>
              </a:rPr>
              <a:t>Link to Content</a:t>
            </a:r>
          </a:p>
        </p:txBody>
      </p:sp>
      <p:pic>
        <p:nvPicPr>
          <p:cNvPr id="57" name="Graphic 56" descr="Rope Knot with solid fill">
            <a:extLst>
              <a:ext uri="{FF2B5EF4-FFF2-40B4-BE49-F238E27FC236}">
                <a16:creationId xmlns:a16="http://schemas.microsoft.com/office/drawing/2014/main" id="{473AAA6F-6D9D-4A3C-AF27-196A1B9BAF5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368993" y="5597218"/>
            <a:ext cx="149512" cy="149512"/>
          </a:xfrm>
          <a:prstGeom prst="rect">
            <a:avLst/>
          </a:prstGeom>
        </p:spPr>
      </p:pic>
      <p:pic>
        <p:nvPicPr>
          <p:cNvPr id="59" name="Picture 58" descr="A picture containing clock, drawing, room&#10;&#10;Description automatically generated">
            <a:extLst>
              <a:ext uri="{FF2B5EF4-FFF2-40B4-BE49-F238E27FC236}">
                <a16:creationId xmlns:a16="http://schemas.microsoft.com/office/drawing/2014/main" id="{CC34CABE-31A0-4B5D-8208-1F8295C8EB04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454" y="1330644"/>
            <a:ext cx="314604" cy="314604"/>
          </a:xfrm>
          <a:prstGeom prst="rect">
            <a:avLst/>
          </a:prstGeom>
          <a:ln>
            <a:noFill/>
          </a:ln>
        </p:spPr>
      </p:pic>
      <p:pic>
        <p:nvPicPr>
          <p:cNvPr id="60" name="Picture 59">
            <a:extLst>
              <a:ext uri="{FF2B5EF4-FFF2-40B4-BE49-F238E27FC236}">
                <a16:creationId xmlns:a16="http://schemas.microsoft.com/office/drawing/2014/main" id="{B480BDF6-0ABB-4A4D-8996-50A2112FE79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8575" y="4130973"/>
            <a:ext cx="335523" cy="335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3180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DE226D76-DFDC-493D-BC2A-95A0A748F140}"/>
              </a:ext>
            </a:extLst>
          </p:cNvPr>
          <p:cNvSpPr txBox="1"/>
          <p:nvPr/>
        </p:nvSpPr>
        <p:spPr>
          <a:xfrm>
            <a:off x="0" y="342781"/>
            <a:ext cx="6096000" cy="347769"/>
          </a:xfrm>
          <a:prstGeom prst="rect">
            <a:avLst/>
          </a:prstGeom>
          <a:solidFill>
            <a:srgbClr val="585858"/>
          </a:solidFill>
        </p:spPr>
        <p:txBody>
          <a:bodyPr wrap="square" tIns="36000" bIns="3600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1 - Unmet Need </a:t>
            </a:r>
            <a:r>
              <a:rPr kumimoji="0" lang="en-GB" sz="105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Uses a wide variety of treatments 1</a:t>
            </a:r>
            <a:r>
              <a:rPr kumimoji="0" lang="en-GB" sz="1050" i="0" u="none" strike="noStrike" kern="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st</a:t>
            </a:r>
            <a:r>
              <a:rPr kumimoji="0" lang="en-GB" sz="105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 line, including JAK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CE7C206-623B-4EC4-A2AB-386E2D02627B}"/>
              </a:ext>
            </a:extLst>
          </p:cNvPr>
          <p:cNvSpPr txBox="1"/>
          <p:nvPr/>
        </p:nvSpPr>
        <p:spPr>
          <a:xfrm>
            <a:off x="6096000" y="342781"/>
            <a:ext cx="6096000" cy="347769"/>
          </a:xfrm>
          <a:prstGeom prst="rect">
            <a:avLst/>
          </a:prstGeom>
          <a:solidFill>
            <a:srgbClr val="C1B29C"/>
          </a:solidFill>
        </p:spPr>
        <p:txBody>
          <a:bodyPr wrap="square" tIns="36000" bIns="36000" rtlCol="0" anchor="ctr" anchorCtr="0">
            <a:noAutofit/>
          </a:bodyPr>
          <a:lstStyle>
            <a:defPPr>
              <a:defRPr lang="en-US"/>
            </a:defPPr>
            <a:lvl1pPr marR="0" lvl="0" indent="0" algn="ct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900" b="0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r>
              <a:rPr lang="en-GB" sz="1000" b="1" dirty="0"/>
              <a:t>2 - Research</a:t>
            </a:r>
            <a:r>
              <a:rPr lang="en-GB" sz="1000" dirty="0"/>
              <a:t>: Uses a wide variety of treatments 1st line, including JAK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0D9D066-2FC7-4081-9876-23A13E2FFEC1}"/>
              </a:ext>
            </a:extLst>
          </p:cNvPr>
          <p:cNvSpPr txBox="1"/>
          <p:nvPr/>
        </p:nvSpPr>
        <p:spPr>
          <a:xfrm>
            <a:off x="1171404" y="724106"/>
            <a:ext cx="984919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Galapagos Goal: </a:t>
            </a:r>
            <a:r>
              <a:rPr kumimoji="0" lang="en-GB" sz="9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Insert the Galapagos goal from the current adoption stage her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EF9AF84-5726-40D1-ADC3-7A2A5FC3C1FA}"/>
              </a:ext>
            </a:extLst>
          </p:cNvPr>
          <p:cNvSpPr txBox="1"/>
          <p:nvPr/>
        </p:nvSpPr>
        <p:spPr>
          <a:xfrm>
            <a:off x="1171404" y="941659"/>
            <a:ext cx="984919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Adoption Stage Barrier: </a:t>
            </a:r>
            <a:r>
              <a:rPr kumimoji="0" lang="en-GB" sz="9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Insert Galapagos the barrier for the current adoption stage her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697FD9D-49DE-47A0-9A2D-09BEB025AACA}"/>
              </a:ext>
            </a:extLst>
          </p:cNvPr>
          <p:cNvSpPr txBox="1"/>
          <p:nvPr/>
        </p:nvSpPr>
        <p:spPr>
          <a:xfrm>
            <a:off x="0" y="0"/>
            <a:ext cx="6096000" cy="347769"/>
          </a:xfrm>
          <a:prstGeom prst="rect">
            <a:avLst/>
          </a:prstGeom>
          <a:solidFill>
            <a:srgbClr val="A15699"/>
          </a:solidFill>
        </p:spPr>
        <p:txBody>
          <a:bodyPr wrap="square" tIns="36000" bIns="3600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Mavericks</a:t>
            </a:r>
            <a:endParaRPr kumimoji="0" lang="en-GB" sz="105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ＭＳ Ｐゴシック" pitchFamily="-1" charset="-128"/>
              <a:cs typeface="Arial" panose="020B0604020202020204" pitchFamily="34" charset="0"/>
            </a:endParaRPr>
          </a:p>
        </p:txBody>
      </p:sp>
      <p:pic>
        <p:nvPicPr>
          <p:cNvPr id="15" name="Picture 14" descr="A picture containing clock, drawing, room&#10;&#10;Description automatically generated">
            <a:extLst>
              <a:ext uri="{FF2B5EF4-FFF2-40B4-BE49-F238E27FC236}">
                <a16:creationId xmlns:a16="http://schemas.microsoft.com/office/drawing/2014/main" id="{197CB2C7-0C9B-42E2-8F15-003B9D74C01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557339" cy="557339"/>
          </a:xfrm>
          <a:prstGeom prst="rect">
            <a:avLst/>
          </a:prstGeom>
          <a:ln>
            <a:noFill/>
          </a:ln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9F07A1A9-AEB7-4965-861A-C08513ADA4D1}"/>
              </a:ext>
            </a:extLst>
          </p:cNvPr>
          <p:cNvSpPr txBox="1"/>
          <p:nvPr/>
        </p:nvSpPr>
        <p:spPr>
          <a:xfrm>
            <a:off x="6096000" y="0"/>
            <a:ext cx="6096000" cy="347769"/>
          </a:xfrm>
          <a:prstGeom prst="rect">
            <a:avLst/>
          </a:prstGeom>
          <a:solidFill>
            <a:srgbClr val="A15699"/>
          </a:solidFill>
        </p:spPr>
        <p:txBody>
          <a:bodyPr wrap="square" tIns="36000" bIns="3600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Scenario 1</a:t>
            </a:r>
            <a:endParaRPr kumimoji="0" lang="en-GB" sz="1050" i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ＭＳ Ｐゴシック" pitchFamily="-1" charset="-128"/>
              <a:cs typeface="Arial" panose="020B0604020202020204" pitchFamily="34" charset="0"/>
            </a:endParaRPr>
          </a:p>
        </p:txBody>
      </p:sp>
      <p:pic>
        <p:nvPicPr>
          <p:cNvPr id="19" name="Picture 18" descr="Icon&#10;&#10;Description automatically generated">
            <a:extLst>
              <a:ext uri="{FF2B5EF4-FFF2-40B4-BE49-F238E27FC236}">
                <a16:creationId xmlns:a16="http://schemas.microsoft.com/office/drawing/2014/main" id="{1FAD771E-8F4B-4C0B-B124-EF3D16E3624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3109" y="23295"/>
            <a:ext cx="350670" cy="350670"/>
          </a:xfrm>
          <a:prstGeom prst="rect">
            <a:avLst/>
          </a:prstGeom>
        </p:spPr>
      </p:pic>
      <p:sp>
        <p:nvSpPr>
          <p:cNvPr id="20" name="Arrow: Right 19">
            <a:extLst>
              <a:ext uri="{FF2B5EF4-FFF2-40B4-BE49-F238E27FC236}">
                <a16:creationId xmlns:a16="http://schemas.microsoft.com/office/drawing/2014/main" id="{681A9C92-0FC8-46B0-8542-7A7ADC301AB7}"/>
              </a:ext>
            </a:extLst>
          </p:cNvPr>
          <p:cNvSpPr/>
          <p:nvPr/>
        </p:nvSpPr>
        <p:spPr bwMode="auto">
          <a:xfrm>
            <a:off x="5763237" y="373965"/>
            <a:ext cx="478172" cy="293290"/>
          </a:xfrm>
          <a:prstGeom prst="rightArrow">
            <a:avLst/>
          </a:prstGeom>
          <a:solidFill>
            <a:srgbClr val="58585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2F82286-53DA-46C4-A44F-F591E2E33200}"/>
              </a:ext>
            </a:extLst>
          </p:cNvPr>
          <p:cNvSpPr txBox="1"/>
          <p:nvPr/>
        </p:nvSpPr>
        <p:spPr>
          <a:xfrm>
            <a:off x="2400300" y="1369625"/>
            <a:ext cx="66294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>
                <a:solidFill>
                  <a:schemeClr val="tx2"/>
                </a:solidFill>
              </a:rPr>
              <a:t>Other option is a more ‘map-like’ layout with less information but more connection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2A56776-2665-429F-A155-7A041814C4C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0753" y="2558924"/>
            <a:ext cx="11665147" cy="3294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8795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text, indoor&#10;&#10;Description automatically generated">
            <a:extLst>
              <a:ext uri="{FF2B5EF4-FFF2-40B4-BE49-F238E27FC236}">
                <a16:creationId xmlns:a16="http://schemas.microsoft.com/office/drawing/2014/main" id="{DE9240B9-B268-46DA-8919-F0E5E539042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B5DDCAD4-B544-4BA6-8202-AFDF9A70B494}"/>
              </a:ext>
            </a:extLst>
          </p:cNvPr>
          <p:cNvSpPr/>
          <p:nvPr/>
        </p:nvSpPr>
        <p:spPr bwMode="auto">
          <a:xfrm>
            <a:off x="0" y="-1"/>
            <a:ext cx="12192000" cy="6858001"/>
          </a:xfrm>
          <a:prstGeom prst="rect">
            <a:avLst/>
          </a:prstGeom>
          <a:solidFill>
            <a:schemeClr val="accent2">
              <a:alpha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pic>
        <p:nvPicPr>
          <p:cNvPr id="15" name="Picture 1">
            <a:extLst>
              <a:ext uri="{FF2B5EF4-FFF2-40B4-BE49-F238E27FC236}">
                <a16:creationId xmlns:a16="http://schemas.microsoft.com/office/drawing/2014/main" id="{536587D1-A4F4-4D0D-A6EA-70D35341496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 amt="16000"/>
          </a:blip>
          <a:srcRect l="7692" t="27780" r="8073" b="19481"/>
          <a:stretch/>
        </p:blipFill>
        <p:spPr>
          <a:xfrm>
            <a:off x="24409" y="752856"/>
            <a:ext cx="12099939" cy="2246376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D6FAE05A-13DB-4752-9069-0AEF38BA1591}"/>
              </a:ext>
            </a:extLst>
          </p:cNvPr>
          <p:cNvSpPr txBox="1"/>
          <p:nvPr/>
        </p:nvSpPr>
        <p:spPr>
          <a:xfrm>
            <a:off x="401722" y="2900680"/>
            <a:ext cx="329306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Option 2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F588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ustellenc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F3ED528-006F-4293-82DD-EA3F3F9F2B08}"/>
              </a:ext>
            </a:extLst>
          </p:cNvPr>
          <p:cNvCxnSpPr>
            <a:cxnSpLocks/>
          </p:cNvCxnSpPr>
          <p:nvPr/>
        </p:nvCxnSpPr>
        <p:spPr bwMode="auto">
          <a:xfrm>
            <a:off x="475488" y="3898011"/>
            <a:ext cx="278892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16892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98D180-47DE-4017-B64E-A97724AE03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ustellence</a:t>
            </a:r>
          </a:p>
        </p:txBody>
      </p:sp>
      <p:pic>
        <p:nvPicPr>
          <p:cNvPr id="4" name="Picture 3" descr="A picture containing text, electronics, screenshot, display&#10;&#10;Description automatically generated">
            <a:extLst>
              <a:ext uri="{FF2B5EF4-FFF2-40B4-BE49-F238E27FC236}">
                <a16:creationId xmlns:a16="http://schemas.microsoft.com/office/drawing/2014/main" id="{15AC11EE-867A-49BD-9D59-4ED21EA9BCE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1865706"/>
            <a:ext cx="5269085" cy="3376517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F0003C2E-EEB6-4539-8368-C5746ABF8A39}"/>
              </a:ext>
            </a:extLst>
          </p:cNvPr>
          <p:cNvSpPr txBox="1"/>
          <p:nvPr/>
        </p:nvSpPr>
        <p:spPr>
          <a:xfrm>
            <a:off x="757954" y="822577"/>
            <a:ext cx="882419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>
                <a:solidFill>
                  <a:schemeClr val="bg2"/>
                </a:solidFill>
              </a:rPr>
              <a:t>After comparing a multitude of tools, we believe Custellence has the best balance of features vs simplicity, with simplicity being key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3B308F3-1948-4AFB-A493-9A6F9776EBAC}"/>
              </a:ext>
            </a:extLst>
          </p:cNvPr>
          <p:cNvSpPr txBox="1"/>
          <p:nvPr/>
        </p:nvSpPr>
        <p:spPr>
          <a:xfrm>
            <a:off x="729379" y="2181225"/>
            <a:ext cx="5269084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dirty="0"/>
              <a:t>No journey mapping tools discovered have simple integrations with CRM</a:t>
            </a:r>
          </a:p>
          <a:p>
            <a: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GB" dirty="0"/>
          </a:p>
          <a:p>
            <a: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dirty="0"/>
              <a:t>All tools allow for exporting the journeys, however exporting in aspect ratio suitable for PPT always requires some finesse.</a:t>
            </a:r>
          </a:p>
          <a:p>
            <a: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GB" dirty="0"/>
          </a:p>
          <a:p>
            <a: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dirty="0"/>
              <a:t>Other tools have more functionality, or more customisation, but at a simplicity cost that is too significant. </a:t>
            </a:r>
          </a:p>
        </p:txBody>
      </p:sp>
      <p:pic>
        <p:nvPicPr>
          <p:cNvPr id="8" name="Picture 7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A54586A7-86FC-4067-B38B-5C21211915A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13232"/>
            <a:ext cx="12192000" cy="61447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5903228"/>
      </p:ext>
    </p:extLst>
  </p:cSld>
  <p:clrMapOvr>
    <a:masterClrMapping/>
  </p:clrMapOvr>
  <p:transition>
    <p:wipe dir="d"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text, indoor&#10;&#10;Description automatically generated">
            <a:extLst>
              <a:ext uri="{FF2B5EF4-FFF2-40B4-BE49-F238E27FC236}">
                <a16:creationId xmlns:a16="http://schemas.microsoft.com/office/drawing/2014/main" id="{DE9240B9-B268-46DA-8919-F0E5E539042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B5DDCAD4-B544-4BA6-8202-AFDF9A70B494}"/>
              </a:ext>
            </a:extLst>
          </p:cNvPr>
          <p:cNvSpPr/>
          <p:nvPr/>
        </p:nvSpPr>
        <p:spPr bwMode="auto">
          <a:xfrm>
            <a:off x="0" y="-1"/>
            <a:ext cx="12192000" cy="6858001"/>
          </a:xfrm>
          <a:prstGeom prst="rect">
            <a:avLst/>
          </a:prstGeom>
          <a:solidFill>
            <a:schemeClr val="accent2">
              <a:alpha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pic>
        <p:nvPicPr>
          <p:cNvPr id="15" name="Picture 1">
            <a:extLst>
              <a:ext uri="{FF2B5EF4-FFF2-40B4-BE49-F238E27FC236}">
                <a16:creationId xmlns:a16="http://schemas.microsoft.com/office/drawing/2014/main" id="{536587D1-A4F4-4D0D-A6EA-70D35341496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 amt="16000"/>
          </a:blip>
          <a:srcRect l="7692" t="27780" r="8073" b="19481"/>
          <a:stretch/>
        </p:blipFill>
        <p:spPr>
          <a:xfrm>
            <a:off x="24409" y="752856"/>
            <a:ext cx="12099939" cy="2246376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D6FAE05A-13DB-4752-9069-0AEF38BA1591}"/>
              </a:ext>
            </a:extLst>
          </p:cNvPr>
          <p:cNvSpPr txBox="1"/>
          <p:nvPr/>
        </p:nvSpPr>
        <p:spPr>
          <a:xfrm>
            <a:off x="401722" y="2900680"/>
            <a:ext cx="329306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Option 3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F588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ural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F3ED528-006F-4293-82DD-EA3F3F9F2B08}"/>
              </a:ext>
            </a:extLst>
          </p:cNvPr>
          <p:cNvCxnSpPr>
            <a:cxnSpLocks/>
          </p:cNvCxnSpPr>
          <p:nvPr/>
        </p:nvCxnSpPr>
        <p:spPr bwMode="auto">
          <a:xfrm>
            <a:off x="475488" y="3898011"/>
            <a:ext cx="278892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742656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98D180-47DE-4017-B64E-A97724AE03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ural</a:t>
            </a:r>
          </a:p>
        </p:txBody>
      </p:sp>
      <p:pic>
        <p:nvPicPr>
          <p:cNvPr id="4" name="Picture 3" descr="A picture containing text, electronics, screenshot, display&#10;&#10;Description automatically generated">
            <a:extLst>
              <a:ext uri="{FF2B5EF4-FFF2-40B4-BE49-F238E27FC236}">
                <a16:creationId xmlns:a16="http://schemas.microsoft.com/office/drawing/2014/main" id="{15AC11EE-867A-49BD-9D59-4ED21EA9BCE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1865706"/>
            <a:ext cx="5269085" cy="3376517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F0003C2E-EEB6-4539-8368-C5746ABF8A39}"/>
              </a:ext>
            </a:extLst>
          </p:cNvPr>
          <p:cNvSpPr txBox="1"/>
          <p:nvPr/>
        </p:nvSpPr>
        <p:spPr>
          <a:xfrm>
            <a:off x="757954" y="822577"/>
            <a:ext cx="882419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>
                <a:solidFill>
                  <a:schemeClr val="bg2"/>
                </a:solidFill>
              </a:rPr>
              <a:t>Mural is an alternative option that allows for visualisation of the entire journey together, with more flexibility for layouts and connections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3B308F3-1948-4AFB-A493-9A6F9776EBAC}"/>
              </a:ext>
            </a:extLst>
          </p:cNvPr>
          <p:cNvSpPr txBox="1"/>
          <p:nvPr/>
        </p:nvSpPr>
        <p:spPr>
          <a:xfrm>
            <a:off x="729379" y="2181225"/>
            <a:ext cx="5269084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dirty="0"/>
              <a:t>Can visualise entire journey</a:t>
            </a:r>
          </a:p>
          <a:p>
            <a: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GB" dirty="0"/>
          </a:p>
          <a:p>
            <a: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dirty="0"/>
              <a:t>Maximum flexibility</a:t>
            </a:r>
          </a:p>
          <a:p>
            <a: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GB" dirty="0"/>
          </a:p>
          <a:p>
            <a: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dirty="0"/>
              <a:t>More time to build</a:t>
            </a:r>
          </a:p>
          <a:p>
            <a: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GB" dirty="0"/>
          </a:p>
          <a:p>
            <a: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dirty="0"/>
              <a:t>Visible to many users without license.</a:t>
            </a:r>
          </a:p>
          <a:p>
            <a: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C64B33A-C94D-4C17-BF64-E5515A3DF33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30400" y="2297877"/>
            <a:ext cx="3770926" cy="2378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2899834"/>
      </p:ext>
    </p:extLst>
  </p:cSld>
  <p:clrMapOvr>
    <a:masterClrMapping/>
  </p:clrMapOvr>
  <p:transition>
    <p:wipe dir="d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EC23B6CF-857A-4DC8-9C06-DCF57E10E0D8}"/>
              </a:ext>
            </a:extLst>
          </p:cNvPr>
          <p:cNvSpPr/>
          <p:nvPr/>
        </p:nvSpPr>
        <p:spPr>
          <a:xfrm>
            <a:off x="3044631" y="292813"/>
            <a:ext cx="5858137" cy="6252327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24000" rtlCol="0" anchor="t"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5CA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4B4B53"/>
              </a:solidFill>
              <a:effectLst/>
              <a:uLnTx/>
              <a:uFillTx/>
              <a:latin typeface="Anodina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0679B81-4A76-4259-9107-FB2C65CD1968}"/>
              </a:ext>
            </a:extLst>
          </p:cNvPr>
          <p:cNvSpPr/>
          <p:nvPr/>
        </p:nvSpPr>
        <p:spPr>
          <a:xfrm>
            <a:off x="3246394" y="3417243"/>
            <a:ext cx="5338523" cy="25345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tx1"/>
                </a:solidFill>
              </a:rPr>
              <a:t>Powered by Insight &amp; data (try to combine where possible to see 360 view)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4B57038-A9BC-41A7-AAC9-A5E1F8725F6A}"/>
              </a:ext>
            </a:extLst>
          </p:cNvPr>
          <p:cNvSpPr/>
          <p:nvPr/>
        </p:nvSpPr>
        <p:spPr>
          <a:xfrm>
            <a:off x="3246393" y="5791375"/>
            <a:ext cx="5338523" cy="25345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tx1"/>
                </a:solidFill>
              </a:rPr>
              <a:t>Based on fact, not feeling (where possible)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06C5DC2-B625-4AAD-BC09-33268515C99A}"/>
              </a:ext>
            </a:extLst>
          </p:cNvPr>
          <p:cNvSpPr/>
          <p:nvPr/>
        </p:nvSpPr>
        <p:spPr>
          <a:xfrm>
            <a:off x="3044631" y="292814"/>
            <a:ext cx="5858137" cy="26652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nodina"/>
                <a:ea typeface="+mn-ea"/>
                <a:cs typeface="+mn-cs"/>
              </a:rPr>
              <a:t>Journey Principl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B2D5B62-52ED-4213-9B01-739EC5AA8D9E}"/>
              </a:ext>
            </a:extLst>
          </p:cNvPr>
          <p:cNvSpPr/>
          <p:nvPr/>
        </p:nvSpPr>
        <p:spPr>
          <a:xfrm>
            <a:off x="3073630" y="568131"/>
            <a:ext cx="5800136" cy="26652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nodina"/>
                <a:ea typeface="+mn-ea"/>
                <a:cs typeface="+mn-cs"/>
              </a:rPr>
              <a:t>What is the priority?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5A4B85F-E2D4-4627-B6D9-B5B9EFEE693E}"/>
              </a:ext>
            </a:extLst>
          </p:cNvPr>
          <p:cNvSpPr/>
          <p:nvPr/>
        </p:nvSpPr>
        <p:spPr>
          <a:xfrm>
            <a:off x="3238003" y="4104813"/>
            <a:ext cx="5338523" cy="25345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tx1"/>
                </a:solidFill>
              </a:rPr>
              <a:t>Various access points (into journey)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F89659E-12AA-46D1-B920-738ECB533300}"/>
              </a:ext>
            </a:extLst>
          </p:cNvPr>
          <p:cNvSpPr/>
          <p:nvPr/>
        </p:nvSpPr>
        <p:spPr>
          <a:xfrm>
            <a:off x="3246394" y="2101651"/>
            <a:ext cx="5338523" cy="33735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tx1"/>
                </a:solidFill>
              </a:rPr>
              <a:t>Addressing customer needs and preferences – leveraging market research (content, channel, style, time)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1D2E8D8-0C4E-4F11-A849-08A86E69CA0E}"/>
              </a:ext>
            </a:extLst>
          </p:cNvPr>
          <p:cNvSpPr/>
          <p:nvPr/>
        </p:nvSpPr>
        <p:spPr>
          <a:xfrm>
            <a:off x="3246394" y="4438449"/>
            <a:ext cx="5338523" cy="25345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tx1"/>
                </a:solidFill>
              </a:rPr>
              <a:t>Linked to key event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07A5890-4597-4712-8C78-F9459EC9C239}"/>
              </a:ext>
            </a:extLst>
          </p:cNvPr>
          <p:cNvSpPr/>
          <p:nvPr/>
        </p:nvSpPr>
        <p:spPr>
          <a:xfrm>
            <a:off x="3246394" y="1416411"/>
            <a:ext cx="5338523" cy="25345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tx1"/>
                </a:solidFill>
              </a:rPr>
              <a:t>Reflect brand plan and prioritization of activat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0FED1DB-334B-4ACA-AB40-E42B67AAA3C5}"/>
              </a:ext>
            </a:extLst>
          </p:cNvPr>
          <p:cNvSpPr/>
          <p:nvPr/>
        </p:nvSpPr>
        <p:spPr>
          <a:xfrm>
            <a:off x="3246394" y="1759031"/>
            <a:ext cx="5338523" cy="25345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381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tx1"/>
                </a:solidFill>
              </a:rPr>
              <a:t>Simpl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DE9FA38-E4BB-4CF8-A4C9-90FD0914F4BF}"/>
              </a:ext>
            </a:extLst>
          </p:cNvPr>
          <p:cNvSpPr/>
          <p:nvPr/>
        </p:nvSpPr>
        <p:spPr>
          <a:xfrm>
            <a:off x="3277503" y="2516555"/>
            <a:ext cx="5338523" cy="40819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dirty="0">
                <a:solidFill>
                  <a:schemeClr val="tx1"/>
                </a:solidFill>
              </a:rPr>
              <a:t>Actionable today = channel maturity, content is there, or where consent is required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A19E0A2-78B7-4975-8E25-C095E9B11C95}"/>
              </a:ext>
            </a:extLst>
          </p:cNvPr>
          <p:cNvSpPr/>
          <p:nvPr/>
        </p:nvSpPr>
        <p:spPr>
          <a:xfrm>
            <a:off x="3246394" y="1073791"/>
            <a:ext cx="5338523" cy="25345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tx1"/>
                </a:solidFill>
              </a:rPr>
              <a:t>Practical / Pragmatic</a:t>
            </a: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1013502A-6976-4E6C-95C9-AE0F0419EB73}"/>
              </a:ext>
            </a:extLst>
          </p:cNvPr>
          <p:cNvCxnSpPr/>
          <p:nvPr/>
        </p:nvCxnSpPr>
        <p:spPr bwMode="auto">
          <a:xfrm flipV="1">
            <a:off x="8791574" y="914400"/>
            <a:ext cx="0" cy="5621947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chemeClr val="accent2"/>
            </a:solidFill>
            <a:prstDash val="solid"/>
            <a:round/>
            <a:headEnd type="none" w="lg" len="lg"/>
            <a:tailEnd type="triangle" w="lg" len="lg"/>
          </a:ln>
          <a:effectLst/>
        </p:spPr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BF0B6E59-D7E7-4083-A9D4-8DC827711889}"/>
              </a:ext>
            </a:extLst>
          </p:cNvPr>
          <p:cNvSpPr/>
          <p:nvPr/>
        </p:nvSpPr>
        <p:spPr>
          <a:xfrm>
            <a:off x="3246394" y="3759863"/>
            <a:ext cx="5338523" cy="23041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tx1"/>
                </a:solidFill>
              </a:rPr>
              <a:t>‘Aligned to CRM/CDP’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1F807A5-71C0-489F-BF50-290205EED7CA}"/>
              </a:ext>
            </a:extLst>
          </p:cNvPr>
          <p:cNvSpPr/>
          <p:nvPr/>
        </p:nvSpPr>
        <p:spPr>
          <a:xfrm>
            <a:off x="3260723" y="5493839"/>
            <a:ext cx="5338523" cy="20946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tx1"/>
                </a:solidFill>
              </a:rPr>
              <a:t>Leverages digital and physical touchpoint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AB421B9-88AE-4195-A676-C6C18320FBFC}"/>
              </a:ext>
            </a:extLst>
          </p:cNvPr>
          <p:cNvSpPr/>
          <p:nvPr/>
        </p:nvSpPr>
        <p:spPr>
          <a:xfrm>
            <a:off x="3269113" y="4768560"/>
            <a:ext cx="5338523" cy="25345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381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tx1"/>
                </a:solidFill>
              </a:rPr>
              <a:t>Journeys are connected and not in isolation</a:t>
            </a:r>
          </a:p>
        </p:txBody>
      </p:sp>
    </p:spTree>
    <p:extLst>
      <p:ext uri="{BB962C8B-B14F-4D97-AF65-F5344CB8AC3E}">
        <p14:creationId xmlns:p14="http://schemas.microsoft.com/office/powerpoint/2010/main" val="4096319990"/>
      </p:ext>
    </p:extLst>
  </p:cSld>
  <p:clrMapOvr>
    <a:masterClrMapping/>
  </p:clrMapOvr>
  <p:transition>
    <p:wipe dir="d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5AF8BD-E457-4D19-9F7A-A39E71231F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ool Comparison</a:t>
            </a:r>
          </a:p>
        </p:txBody>
      </p:sp>
      <p:pic>
        <p:nvPicPr>
          <p:cNvPr id="7" name="Picture 6" descr="A picture containing logo&#10;&#10;Description automatically generated">
            <a:extLst>
              <a:ext uri="{FF2B5EF4-FFF2-40B4-BE49-F238E27FC236}">
                <a16:creationId xmlns:a16="http://schemas.microsoft.com/office/drawing/2014/main" id="{2328FEC1-5F83-4928-BA52-BC860665315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4613" y="1270068"/>
            <a:ext cx="2131410" cy="904235"/>
          </a:xfrm>
          <a:prstGeom prst="rect">
            <a:avLst/>
          </a:prstGeom>
        </p:spPr>
      </p:pic>
      <p:pic>
        <p:nvPicPr>
          <p:cNvPr id="9" name="Picture 8" descr="A picture containing text, clipart, sign&#10;&#10;Description automatically generated">
            <a:extLst>
              <a:ext uri="{FF2B5EF4-FFF2-40B4-BE49-F238E27FC236}">
                <a16:creationId xmlns:a16="http://schemas.microsoft.com/office/drawing/2014/main" id="{CC8AF076-0487-4827-B699-62A17B0F059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9516" y="1513392"/>
            <a:ext cx="2590554" cy="481013"/>
          </a:xfrm>
          <a:prstGeom prst="rect">
            <a:avLst/>
          </a:prstGeom>
        </p:spPr>
      </p:pic>
      <p:pic>
        <p:nvPicPr>
          <p:cNvPr id="11" name="Picture 10" descr="Logo&#10;&#10;Description automatically generated">
            <a:extLst>
              <a:ext uri="{FF2B5EF4-FFF2-40B4-BE49-F238E27FC236}">
                <a16:creationId xmlns:a16="http://schemas.microsoft.com/office/drawing/2014/main" id="{44150B8F-49F8-4A75-ACE4-0139266FDF45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211" b="29472"/>
          <a:stretch/>
        </p:blipFill>
        <p:spPr>
          <a:xfrm>
            <a:off x="9017413" y="1466849"/>
            <a:ext cx="2717388" cy="575181"/>
          </a:xfrm>
          <a:prstGeom prst="rect">
            <a:avLst/>
          </a:prstGeom>
        </p:spPr>
      </p:pic>
      <p:graphicFrame>
        <p:nvGraphicFramePr>
          <p:cNvPr id="12" name="Table 12">
            <a:extLst>
              <a:ext uri="{FF2B5EF4-FFF2-40B4-BE49-F238E27FC236}">
                <a16:creationId xmlns:a16="http://schemas.microsoft.com/office/drawing/2014/main" id="{1D8652F0-08E2-40C8-BCC7-D0D462A06A4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0271384"/>
              </p:ext>
            </p:extLst>
          </p:nvPr>
        </p:nvGraphicFramePr>
        <p:xfrm>
          <a:off x="276225" y="2174302"/>
          <a:ext cx="11487151" cy="374753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43307">
                  <a:extLst>
                    <a:ext uri="{9D8B030D-6E8A-4147-A177-3AD203B41FA5}">
                      <a16:colId xmlns:a16="http://schemas.microsoft.com/office/drawing/2014/main" val="3191271448"/>
                    </a:ext>
                  </a:extLst>
                </a:gridCol>
                <a:gridCol w="2847948">
                  <a:extLst>
                    <a:ext uri="{9D8B030D-6E8A-4147-A177-3AD203B41FA5}">
                      <a16:colId xmlns:a16="http://schemas.microsoft.com/office/drawing/2014/main" val="3749805036"/>
                    </a:ext>
                  </a:extLst>
                </a:gridCol>
                <a:gridCol w="2847948">
                  <a:extLst>
                    <a:ext uri="{9D8B030D-6E8A-4147-A177-3AD203B41FA5}">
                      <a16:colId xmlns:a16="http://schemas.microsoft.com/office/drawing/2014/main" val="1305512919"/>
                    </a:ext>
                  </a:extLst>
                </a:gridCol>
                <a:gridCol w="2847948">
                  <a:extLst>
                    <a:ext uri="{9D8B030D-6E8A-4147-A177-3AD203B41FA5}">
                      <a16:colId xmlns:a16="http://schemas.microsoft.com/office/drawing/2014/main" val="1708123540"/>
                    </a:ext>
                  </a:extLst>
                </a:gridCol>
              </a:tblGrid>
              <a:tr h="416393">
                <a:tc>
                  <a:txBody>
                    <a:bodyPr/>
                    <a:lstStyle/>
                    <a:p>
                      <a:pPr algn="r"/>
                      <a:r>
                        <a:rPr lang="en-GB" sz="1200" b="1" dirty="0">
                          <a:solidFill>
                            <a:schemeClr val="accent6"/>
                          </a:solidFill>
                        </a:rPr>
                        <a:t>Easily Editable – Basic Changes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0953681"/>
                  </a:ext>
                </a:extLst>
              </a:tr>
              <a:tr h="416393">
                <a:tc>
                  <a:txBody>
                    <a:bodyPr/>
                    <a:lstStyle/>
                    <a:p>
                      <a:pPr algn="r"/>
                      <a:r>
                        <a:rPr lang="en-GB" sz="1200" b="1" dirty="0">
                          <a:solidFill>
                            <a:schemeClr val="accent6"/>
                          </a:solidFill>
                        </a:rPr>
                        <a:t>Easily Editable – Structural Changes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6608063"/>
                  </a:ext>
                </a:extLst>
              </a:tr>
              <a:tr h="416393">
                <a:tc>
                  <a:txBody>
                    <a:bodyPr/>
                    <a:lstStyle/>
                    <a:p>
                      <a:pPr algn="r"/>
                      <a:r>
                        <a:rPr lang="en-GB" sz="1200" b="1" dirty="0">
                          <a:solidFill>
                            <a:schemeClr val="accent6"/>
                          </a:solidFill>
                        </a:rPr>
                        <a:t>Learning Curve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8322089"/>
                  </a:ext>
                </a:extLst>
              </a:tr>
              <a:tr h="416393">
                <a:tc>
                  <a:txBody>
                    <a:bodyPr/>
                    <a:lstStyle/>
                    <a:p>
                      <a:pPr algn="r"/>
                      <a:r>
                        <a:rPr lang="en-GB" sz="1200" b="1" dirty="0">
                          <a:solidFill>
                            <a:schemeClr val="accent6"/>
                          </a:solidFill>
                        </a:rPr>
                        <a:t>Live Collaboration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6171345"/>
                  </a:ext>
                </a:extLst>
              </a:tr>
              <a:tr h="416393">
                <a:tc>
                  <a:txBody>
                    <a:bodyPr/>
                    <a:lstStyle/>
                    <a:p>
                      <a:pPr algn="r"/>
                      <a:r>
                        <a:rPr lang="en-GB" sz="1200" b="1" dirty="0">
                          <a:solidFill>
                            <a:schemeClr val="accent6"/>
                          </a:solidFill>
                        </a:rPr>
                        <a:t>Flexibility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1918572"/>
                  </a:ext>
                </a:extLst>
              </a:tr>
              <a:tr h="416393">
                <a:tc>
                  <a:txBody>
                    <a:bodyPr/>
                    <a:lstStyle/>
                    <a:p>
                      <a:pPr algn="r"/>
                      <a:r>
                        <a:rPr lang="en-GB" sz="1200" b="1" dirty="0">
                          <a:solidFill>
                            <a:schemeClr val="accent6"/>
                          </a:solidFill>
                        </a:rPr>
                        <a:t>Readability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58787"/>
                  </a:ext>
                </a:extLst>
              </a:tr>
              <a:tr h="416393">
                <a:tc>
                  <a:txBody>
                    <a:bodyPr/>
                    <a:lstStyle/>
                    <a:p>
                      <a:pPr algn="r"/>
                      <a:r>
                        <a:rPr lang="en-GB" sz="1200" b="1" dirty="0">
                          <a:solidFill>
                            <a:schemeClr val="accent6"/>
                          </a:solidFill>
                        </a:rPr>
                        <a:t>Full map visualisation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7127951"/>
                  </a:ext>
                </a:extLst>
              </a:tr>
              <a:tr h="416393">
                <a:tc>
                  <a:txBody>
                    <a:bodyPr/>
                    <a:lstStyle/>
                    <a:p>
                      <a:pPr algn="r"/>
                      <a:r>
                        <a:rPr lang="en-GB" sz="1200" b="1" dirty="0">
                          <a:solidFill>
                            <a:schemeClr val="accent6"/>
                          </a:solidFill>
                        </a:rPr>
                        <a:t>Guided Journey Creation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3059717"/>
                  </a:ext>
                </a:extLst>
              </a:tr>
              <a:tr h="416393">
                <a:tc>
                  <a:txBody>
                    <a:bodyPr/>
                    <a:lstStyle/>
                    <a:p>
                      <a:pPr marL="0" marR="0" lvl="0" indent="0" algn="r" defTabSz="4571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dirty="0">
                          <a:solidFill>
                            <a:schemeClr val="accent6"/>
                          </a:solidFill>
                        </a:rPr>
                        <a:t>Cost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07532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66910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text, indoor&#10;&#10;Description automatically generated">
            <a:extLst>
              <a:ext uri="{FF2B5EF4-FFF2-40B4-BE49-F238E27FC236}">
                <a16:creationId xmlns:a16="http://schemas.microsoft.com/office/drawing/2014/main" id="{DE9240B9-B268-46DA-8919-F0E5E539042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B5DDCAD4-B544-4BA6-8202-AFDF9A70B494}"/>
              </a:ext>
            </a:extLst>
          </p:cNvPr>
          <p:cNvSpPr/>
          <p:nvPr/>
        </p:nvSpPr>
        <p:spPr bwMode="auto">
          <a:xfrm>
            <a:off x="0" y="-1"/>
            <a:ext cx="12192000" cy="6858001"/>
          </a:xfrm>
          <a:prstGeom prst="rect">
            <a:avLst/>
          </a:prstGeom>
          <a:solidFill>
            <a:schemeClr val="accent2">
              <a:alpha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pic>
        <p:nvPicPr>
          <p:cNvPr id="15" name="Picture 1">
            <a:extLst>
              <a:ext uri="{FF2B5EF4-FFF2-40B4-BE49-F238E27FC236}">
                <a16:creationId xmlns:a16="http://schemas.microsoft.com/office/drawing/2014/main" id="{536587D1-A4F4-4D0D-A6EA-70D35341496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 amt="16000"/>
          </a:blip>
          <a:srcRect l="7692" t="27780" r="8073" b="19481"/>
          <a:stretch/>
        </p:blipFill>
        <p:spPr>
          <a:xfrm>
            <a:off x="24409" y="752856"/>
            <a:ext cx="12099939" cy="2246376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D6FAE05A-13DB-4752-9069-0AEF38BA1591}"/>
              </a:ext>
            </a:extLst>
          </p:cNvPr>
          <p:cNvSpPr txBox="1"/>
          <p:nvPr/>
        </p:nvSpPr>
        <p:spPr>
          <a:xfrm>
            <a:off x="401722" y="2900680"/>
            <a:ext cx="329306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Option 1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F588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owerPoint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F3ED528-006F-4293-82DD-EA3F3F9F2B08}"/>
              </a:ext>
            </a:extLst>
          </p:cNvPr>
          <p:cNvCxnSpPr>
            <a:cxnSpLocks/>
          </p:cNvCxnSpPr>
          <p:nvPr/>
        </p:nvCxnSpPr>
        <p:spPr bwMode="auto">
          <a:xfrm>
            <a:off x="475488" y="3898011"/>
            <a:ext cx="278892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878225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514E8FF3-0B84-4ABE-B050-06F2FF56D991}"/>
              </a:ext>
            </a:extLst>
          </p:cNvPr>
          <p:cNvSpPr/>
          <p:nvPr/>
        </p:nvSpPr>
        <p:spPr bwMode="auto">
          <a:xfrm>
            <a:off x="619125" y="1333500"/>
            <a:ext cx="10496550" cy="33337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868E05-EFCE-488C-BB5F-FB19C6753A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PPT touchpoint principles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5BDECBE-CF40-48A2-8DFF-A9343DD53BD9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733283" y="1554163"/>
            <a:ext cx="9744217" cy="4343400"/>
          </a:xfrm>
        </p:spPr>
        <p:txBody>
          <a:bodyPr/>
          <a:lstStyle/>
          <a:p>
            <a:r>
              <a:rPr lang="en-GB" sz="2000" dirty="0"/>
              <a:t>Fill the space with useful information – the touchpoints are priority from a UX perspective</a:t>
            </a:r>
          </a:p>
          <a:p>
            <a:r>
              <a:rPr lang="en-GB" sz="2000" dirty="0"/>
              <a:t>Standard format across pages for navigation</a:t>
            </a:r>
          </a:p>
          <a:p>
            <a:r>
              <a:rPr lang="en-GB" sz="2000" dirty="0"/>
              <a:t>7 steps per adoption stage (marketing rule of thumb)</a:t>
            </a:r>
          </a:p>
          <a:p>
            <a:r>
              <a:rPr lang="en-GB" sz="2000" dirty="0"/>
              <a:t>The more descriptive each touchpoint is the easier it is to execute: </a:t>
            </a:r>
          </a:p>
          <a:p>
            <a:pPr lvl="1"/>
            <a:r>
              <a:rPr lang="en-GB" sz="1800" b="1" dirty="0">
                <a:solidFill>
                  <a:schemeClr val="tx2"/>
                </a:solidFill>
              </a:rPr>
              <a:t>Channel – Goal of Interaction - Message – Link to Content – KPIs – Link to playbooks</a:t>
            </a:r>
          </a:p>
          <a:p>
            <a:endParaRPr lang="en-GB" sz="2000" dirty="0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20A57729-F1AE-466C-A501-164D31B19492}"/>
              </a:ext>
            </a:extLst>
          </p:cNvPr>
          <p:cNvSpPr txBox="1"/>
          <p:nvPr/>
        </p:nvSpPr>
        <p:spPr>
          <a:xfrm>
            <a:off x="619125" y="4840448"/>
            <a:ext cx="1026139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highlight>
                  <a:srgbClr val="FFFF00"/>
                </a:highlight>
              </a:rPr>
              <a:t>Experience – can result in huge files that have usage limitations.</a:t>
            </a:r>
          </a:p>
          <a:p>
            <a:r>
              <a:rPr lang="en-GB" dirty="0">
                <a:highlight>
                  <a:srgbClr val="FFFF00"/>
                </a:highlight>
              </a:rPr>
              <a:t>Quick changes are often difficult and require lots of moving things around</a:t>
            </a:r>
          </a:p>
          <a:p>
            <a:r>
              <a:rPr lang="en-GB" dirty="0">
                <a:highlight>
                  <a:srgbClr val="FFFF00"/>
                </a:highlight>
              </a:rPr>
              <a:t>Need to be easily copied into a PPT for presenting the outputs clearly.</a:t>
            </a:r>
          </a:p>
          <a:p>
            <a:r>
              <a:rPr lang="en-GB" dirty="0">
                <a:highlight>
                  <a:srgbClr val="FFFF00"/>
                </a:highlight>
              </a:rPr>
              <a:t>Option could be to </a:t>
            </a:r>
            <a:r>
              <a:rPr lang="en-GB" dirty="0" err="1">
                <a:highlight>
                  <a:srgbClr val="FFFF00"/>
                </a:highlight>
              </a:rPr>
              <a:t>to</a:t>
            </a:r>
            <a:r>
              <a:rPr lang="en-GB" dirty="0">
                <a:highlight>
                  <a:srgbClr val="FFFF00"/>
                </a:highlight>
              </a:rPr>
              <a:t> design in a tool, and manage elsewhere.</a:t>
            </a:r>
          </a:p>
        </p:txBody>
      </p:sp>
    </p:spTree>
    <p:extLst>
      <p:ext uri="{BB962C8B-B14F-4D97-AF65-F5344CB8AC3E}">
        <p14:creationId xmlns:p14="http://schemas.microsoft.com/office/powerpoint/2010/main" val="874096528"/>
      </p:ext>
    </p:extLst>
  </p:cSld>
  <p:clrMapOvr>
    <a:masterClrMapping/>
  </p:clrMapOvr>
  <p:transition>
    <p:wipe dir="d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2589F985-BB04-44D0-AC0A-2EF6FA4E73DB}"/>
              </a:ext>
            </a:extLst>
          </p:cNvPr>
          <p:cNvSpPr/>
          <p:nvPr/>
        </p:nvSpPr>
        <p:spPr>
          <a:xfrm>
            <a:off x="10354357" y="5805188"/>
            <a:ext cx="1837643" cy="10528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E12846A-5C59-413B-AAA1-96FB19C83B5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92622" y="1535366"/>
            <a:ext cx="240497" cy="258395"/>
          </a:xfrm>
          <a:prstGeom prst="rect">
            <a:avLst/>
          </a:prstGeom>
        </p:spPr>
      </p:pic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9675DE61-C30F-4CAE-B056-D968CA8C7E26}"/>
              </a:ext>
            </a:extLst>
          </p:cNvPr>
          <p:cNvSpPr>
            <a:spLocks/>
          </p:cNvSpPr>
          <p:nvPr/>
        </p:nvSpPr>
        <p:spPr bwMode="auto">
          <a:xfrm rot="5400000">
            <a:off x="3350014" y="128689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Helvetica Neue Ligh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B538AA-65B0-4AA2-99E9-7F0E635F536D}"/>
              </a:ext>
            </a:extLst>
          </p:cNvPr>
          <p:cNvSpPr txBox="1"/>
          <p:nvPr/>
        </p:nvSpPr>
        <p:spPr>
          <a:xfrm>
            <a:off x="1365471" y="1244453"/>
            <a:ext cx="1885612" cy="426368"/>
          </a:xfrm>
          <a:prstGeom prst="rect">
            <a:avLst/>
          </a:prstGeom>
          <a:solidFill>
            <a:srgbClr val="585858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ＭＳ Ｐゴシック" pitchFamily="-1" charset="-128"/>
                <a:cs typeface="Arial" panose="020B0604020202020204" pitchFamily="34" charset="0"/>
              </a:rPr>
              <a:t>#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0AF1F80-B377-4131-84D1-D4A127F3B611}"/>
              </a:ext>
            </a:extLst>
          </p:cNvPr>
          <p:cNvSpPr txBox="1"/>
          <p:nvPr/>
        </p:nvSpPr>
        <p:spPr>
          <a:xfrm>
            <a:off x="3573437" y="124445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ＭＳ Ｐゴシック" pitchFamily="-1" charset="-128"/>
                <a:cs typeface="Arial" panose="020B0604020202020204" pitchFamily="34" charset="0"/>
              </a:rPr>
              <a:t>#2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81E93C3-B956-429E-8CD8-79E80D1E0221}"/>
              </a:ext>
            </a:extLst>
          </p:cNvPr>
          <p:cNvSpPr txBox="1"/>
          <p:nvPr/>
        </p:nvSpPr>
        <p:spPr>
          <a:xfrm>
            <a:off x="5781403" y="124445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ＭＳ Ｐゴシック" pitchFamily="-1" charset="-128"/>
                <a:cs typeface="Arial" panose="020B0604020202020204" pitchFamily="34" charset="0"/>
              </a:rPr>
              <a:t>#3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6098C6B-4980-4826-B9C2-C120D045270C}"/>
              </a:ext>
            </a:extLst>
          </p:cNvPr>
          <p:cNvSpPr txBox="1"/>
          <p:nvPr/>
        </p:nvSpPr>
        <p:spPr>
          <a:xfrm>
            <a:off x="7989369" y="124445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ＭＳ Ｐゴシック" pitchFamily="-1" charset="-128"/>
                <a:cs typeface="Arial" panose="020B0604020202020204" pitchFamily="34" charset="0"/>
              </a:rPr>
              <a:t>#4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8FDB462-5E4D-4DB5-AE24-1EE365B5CFF9}"/>
              </a:ext>
            </a:extLst>
          </p:cNvPr>
          <p:cNvSpPr txBox="1"/>
          <p:nvPr/>
        </p:nvSpPr>
        <p:spPr>
          <a:xfrm>
            <a:off x="10197335" y="1244453"/>
            <a:ext cx="1885612" cy="426368"/>
          </a:xfrm>
          <a:prstGeom prst="rect">
            <a:avLst/>
          </a:prstGeom>
          <a:solidFill>
            <a:srgbClr val="C63044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ＭＳ Ｐゴシック" pitchFamily="-1" charset="-128"/>
                <a:cs typeface="Arial" panose="020B0604020202020204" pitchFamily="34" charset="0"/>
              </a:rPr>
              <a:t>#5</a:t>
            </a:r>
            <a:endParaRPr kumimoji="0" lang="en-GB" sz="10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ＭＳ Ｐゴシック" pitchFamily="-1" charset="-128"/>
              <a:cs typeface="Arial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6C1FBAE-12D0-4352-B109-A1573DC349D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99367" y="1518996"/>
            <a:ext cx="240497" cy="258395"/>
          </a:xfrm>
          <a:prstGeom prst="rect">
            <a:avLst/>
          </a:prstGeom>
        </p:spPr>
      </p:pic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06FA07DA-237B-4CD0-A0A4-2111FCB63C68}"/>
              </a:ext>
            </a:extLst>
          </p:cNvPr>
          <p:cNvSpPr>
            <a:spLocks/>
          </p:cNvSpPr>
          <p:nvPr/>
        </p:nvSpPr>
        <p:spPr bwMode="auto">
          <a:xfrm rot="5400000">
            <a:off x="5556759" y="127052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Helvetica Neue Light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E5CDE15-8AAD-48A6-88B7-E8DECA5B06A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07943" y="1535366"/>
            <a:ext cx="240497" cy="258395"/>
          </a:xfrm>
          <a:prstGeom prst="rect">
            <a:avLst/>
          </a:prstGeom>
        </p:spPr>
      </p:pic>
      <p:sp>
        <p:nvSpPr>
          <p:cNvPr id="14" name="Isosceles Triangle 13">
            <a:extLst>
              <a:ext uri="{FF2B5EF4-FFF2-40B4-BE49-F238E27FC236}">
                <a16:creationId xmlns:a16="http://schemas.microsoft.com/office/drawing/2014/main" id="{D5A2D285-969F-41FF-A651-CB4873ECDB53}"/>
              </a:ext>
            </a:extLst>
          </p:cNvPr>
          <p:cNvSpPr>
            <a:spLocks/>
          </p:cNvSpPr>
          <p:nvPr/>
        </p:nvSpPr>
        <p:spPr bwMode="auto">
          <a:xfrm rot="5400000">
            <a:off x="7765335" y="128689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Helvetica Neue Light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7AF571A-E3E5-4681-9984-02413ECC833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15909" y="1535366"/>
            <a:ext cx="240497" cy="258395"/>
          </a:xfrm>
          <a:prstGeom prst="rect">
            <a:avLst/>
          </a:prstGeom>
        </p:spPr>
      </p:pic>
      <p:sp>
        <p:nvSpPr>
          <p:cNvPr id="16" name="Isosceles Triangle 15">
            <a:extLst>
              <a:ext uri="{FF2B5EF4-FFF2-40B4-BE49-F238E27FC236}">
                <a16:creationId xmlns:a16="http://schemas.microsoft.com/office/drawing/2014/main" id="{995D1170-80E8-4EB6-A5BA-EAD1B9EADEB6}"/>
              </a:ext>
            </a:extLst>
          </p:cNvPr>
          <p:cNvSpPr>
            <a:spLocks/>
          </p:cNvSpPr>
          <p:nvPr/>
        </p:nvSpPr>
        <p:spPr bwMode="auto">
          <a:xfrm rot="5400000">
            <a:off x="9973301" y="128689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Helvetica Neue Light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8143A20-473E-4AAE-ACDA-C1885CFA36AA}"/>
              </a:ext>
            </a:extLst>
          </p:cNvPr>
          <p:cNvSpPr/>
          <p:nvPr/>
        </p:nvSpPr>
        <p:spPr>
          <a:xfrm>
            <a:off x="1365471" y="300257"/>
            <a:ext cx="1289849" cy="599641"/>
          </a:xfrm>
          <a:prstGeom prst="rect">
            <a:avLst/>
          </a:prstGeom>
          <a:solidFill>
            <a:srgbClr val="DEB3A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marR="0" lvl="0" indent="-387341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URRENT </a:t>
            </a:r>
          </a:p>
        </p:txBody>
      </p:sp>
      <p:pic>
        <p:nvPicPr>
          <p:cNvPr id="19" name="Graphic 18" descr="Watch">
            <a:extLst>
              <a:ext uri="{FF2B5EF4-FFF2-40B4-BE49-F238E27FC236}">
                <a16:creationId xmlns:a16="http://schemas.microsoft.com/office/drawing/2014/main" id="{146D51D0-2E17-4E7E-BBB8-C3D7046932F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893001" y="314529"/>
            <a:ext cx="266705" cy="276734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50D641BD-2480-4263-A69F-B43A2B83591D}"/>
              </a:ext>
            </a:extLst>
          </p:cNvPr>
          <p:cNvSpPr/>
          <p:nvPr/>
        </p:nvSpPr>
        <p:spPr>
          <a:xfrm>
            <a:off x="6856255" y="288926"/>
            <a:ext cx="1297463" cy="629493"/>
          </a:xfrm>
          <a:prstGeom prst="rect">
            <a:avLst/>
          </a:prstGeom>
          <a:solidFill>
            <a:srgbClr val="A0B266">
              <a:lumMod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marR="0" lvl="0" indent="-387341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SIRED 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BDA61AE-03DB-40C7-8147-9714CE3C8967}"/>
              </a:ext>
            </a:extLst>
          </p:cNvPr>
          <p:cNvSpPr/>
          <p:nvPr/>
        </p:nvSpPr>
        <p:spPr>
          <a:xfrm>
            <a:off x="8153718" y="300965"/>
            <a:ext cx="3893769" cy="611694"/>
          </a:xfrm>
          <a:prstGeom prst="rect">
            <a:avLst/>
          </a:prstGeom>
          <a:solidFill>
            <a:srgbClr val="A0B266">
              <a:lumMod val="20000"/>
              <a:lumOff val="80000"/>
              <a:alpha val="8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380990" marR="0" lvl="0" indent="-264577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ries JYSELECA with some patients</a:t>
            </a:r>
          </a:p>
          <a:p>
            <a:pPr marL="380990" marR="0" lvl="0" indent="-264577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(After they have gained experience) Expand JYSELECA use in a wider range of patients in preference to other JAKs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22D3A026-9814-49A1-960A-3FD72F4603DB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prstClr val="black"/>
              <a:srgbClr val="FFFFFF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 contras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13358" y="350917"/>
            <a:ext cx="265365" cy="265364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336542F8-2BCE-419C-A3BA-FB8DB765B49B}"/>
              </a:ext>
            </a:extLst>
          </p:cNvPr>
          <p:cNvSpPr/>
          <p:nvPr/>
        </p:nvSpPr>
        <p:spPr>
          <a:xfrm>
            <a:off x="2662949" y="303004"/>
            <a:ext cx="3632658" cy="599642"/>
          </a:xfrm>
          <a:prstGeom prst="rect">
            <a:avLst/>
          </a:prstGeom>
          <a:solidFill>
            <a:srgbClr val="DEB3A8">
              <a:lumMod val="50000"/>
              <a:alpha val="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237061" marR="0" lvl="0" indent="-237061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Helvetica Neue Light"/>
                <a:cs typeface="Arial" panose="020B0604020202020204" pitchFamily="34" charset="0"/>
              </a:rPr>
              <a:t>Uses a very broad spectrum of products including JAKs</a:t>
            </a:r>
          </a:p>
          <a:p>
            <a:pPr marL="237061" marR="0" lvl="0" indent="-237061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Helvetica Neue Light"/>
                <a:cs typeface="Arial" panose="020B0604020202020204" pitchFamily="34" charset="0"/>
              </a:rPr>
              <a:t>Uses very recently launched products </a:t>
            </a:r>
          </a:p>
          <a:p>
            <a:pPr marL="237061" marR="0" lvl="0" indent="-237061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Helvetica Neue Light"/>
                <a:cs typeface="Arial" panose="020B0604020202020204" pitchFamily="34" charset="0"/>
              </a:rPr>
              <a:t>Able to talk extensively about new and pipeline treatments</a:t>
            </a:r>
          </a:p>
          <a:p>
            <a:pPr marL="237061" marR="0" lvl="0" indent="-237061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Helvetica Neue Light"/>
                <a:cs typeface="Arial" panose="020B0604020202020204" pitchFamily="34" charset="0"/>
              </a:rPr>
              <a:t>Willing to act ahead of guidelines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8EB286A5-8DE6-4319-88B7-F3FBD408DE95}"/>
              </a:ext>
            </a:extLst>
          </p:cNvPr>
          <p:cNvCxnSpPr/>
          <p:nvPr/>
        </p:nvCxnSpPr>
        <p:spPr bwMode="auto">
          <a:xfrm>
            <a:off x="0" y="1898663"/>
            <a:ext cx="12192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09501359-DAEB-4856-9CB7-2643F2A726B3}"/>
              </a:ext>
            </a:extLst>
          </p:cNvPr>
          <p:cNvSpPr txBox="1"/>
          <p:nvPr/>
        </p:nvSpPr>
        <p:spPr>
          <a:xfrm>
            <a:off x="34083" y="332052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haviour Change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55CF336-FA55-4920-9B32-70A27D0D8BD3}"/>
              </a:ext>
            </a:extLst>
          </p:cNvPr>
          <p:cNvSpPr txBox="1"/>
          <p:nvPr/>
        </p:nvSpPr>
        <p:spPr>
          <a:xfrm>
            <a:off x="46420" y="1183781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doption Stage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2EB4B4B-5C40-4FCC-BE60-FCD997BE3B02}"/>
              </a:ext>
            </a:extLst>
          </p:cNvPr>
          <p:cNvSpPr txBox="1"/>
          <p:nvPr/>
        </p:nvSpPr>
        <p:spPr>
          <a:xfrm>
            <a:off x="1675384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nmet Need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E8507361-4668-47C4-B638-DD151825387B}"/>
              </a:ext>
            </a:extLst>
          </p:cNvPr>
          <p:cNvSpPr txBox="1"/>
          <p:nvPr/>
        </p:nvSpPr>
        <p:spPr>
          <a:xfrm>
            <a:off x="3922016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search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2B0F49DA-9F5F-4039-A628-89559720E43D}"/>
              </a:ext>
            </a:extLst>
          </p:cNvPr>
          <p:cNvSpPr txBox="1"/>
          <p:nvPr/>
        </p:nvSpPr>
        <p:spPr>
          <a:xfrm>
            <a:off x="6096000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  <a:r>
              <a:rPr kumimoji="0" lang="en-GB" sz="1100" b="1" i="0" u="none" strike="noStrike" kern="1200" cap="none" spc="0" normalizeH="0" baseline="3000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</a:t>
            </a: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Rx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49A35C6-1BBD-460C-9D75-63125215463C}"/>
              </a:ext>
            </a:extLst>
          </p:cNvPr>
          <p:cNvSpPr txBox="1"/>
          <p:nvPr/>
        </p:nvSpPr>
        <p:spPr>
          <a:xfrm>
            <a:off x="8336586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scribes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9211ECC-A6F8-43B2-B7D8-942CE0B6A381}"/>
              </a:ext>
            </a:extLst>
          </p:cNvPr>
          <p:cNvSpPr txBox="1"/>
          <p:nvPr/>
        </p:nvSpPr>
        <p:spPr>
          <a:xfrm>
            <a:off x="10527268" y="966754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dvocates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B679B7D-0627-495E-914B-5CBB4EC4B8CE}"/>
              </a:ext>
            </a:extLst>
          </p:cNvPr>
          <p:cNvSpPr txBox="1"/>
          <p:nvPr/>
        </p:nvSpPr>
        <p:spPr>
          <a:xfrm>
            <a:off x="34083" y="2210801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alapagos Goal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5EA1FAB4-ADEB-4F49-A0DA-BB153ABDC479}"/>
              </a:ext>
            </a:extLst>
          </p:cNvPr>
          <p:cNvSpPr txBox="1"/>
          <p:nvPr/>
        </p:nvSpPr>
        <p:spPr>
          <a:xfrm>
            <a:off x="91576" y="3704834"/>
            <a:ext cx="12898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arriers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B31C14A4-85CF-42E3-8E4E-B355782B6737}"/>
              </a:ext>
            </a:extLst>
          </p:cNvPr>
          <p:cNvSpPr txBox="1"/>
          <p:nvPr/>
        </p:nvSpPr>
        <p:spPr>
          <a:xfrm rot="16200000">
            <a:off x="-190099" y="5122695"/>
            <a:ext cx="12898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ssages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1DB03DD2-5668-48D3-B00D-0650D4998297}"/>
              </a:ext>
            </a:extLst>
          </p:cNvPr>
          <p:cNvSpPr/>
          <p:nvPr/>
        </p:nvSpPr>
        <p:spPr bwMode="auto">
          <a:xfrm>
            <a:off x="1360507" y="1995187"/>
            <a:ext cx="1932115" cy="118618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A1569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vericks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insert her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898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agmatists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insert her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8CA50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mpassionates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Insert here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0C415A8C-FD4D-48A2-A649-323E37C633D2}"/>
              </a:ext>
            </a:extLst>
          </p:cNvPr>
          <p:cNvSpPr/>
          <p:nvPr/>
        </p:nvSpPr>
        <p:spPr bwMode="auto">
          <a:xfrm>
            <a:off x="1360508" y="3265823"/>
            <a:ext cx="1932114" cy="105281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ighly competitive environment with comparisons between treatments hard to make.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eatment inertia and need to overcome mindset shift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39EF4606-A9E9-4482-BF2C-8115B90E62FB}"/>
              </a:ext>
            </a:extLst>
          </p:cNvPr>
          <p:cNvSpPr/>
          <p:nvPr/>
        </p:nvSpPr>
        <p:spPr bwMode="auto">
          <a:xfrm>
            <a:off x="1360507" y="4419764"/>
            <a:ext cx="1923188" cy="568982"/>
          </a:xfrm>
          <a:prstGeom prst="rect">
            <a:avLst/>
          </a:prstGeom>
          <a:solidFill>
            <a:srgbClr val="A15699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573AC11C-B05A-414D-90A2-B20F968AD3B8}"/>
              </a:ext>
            </a:extLst>
          </p:cNvPr>
          <p:cNvSpPr/>
          <p:nvPr/>
        </p:nvSpPr>
        <p:spPr bwMode="auto">
          <a:xfrm>
            <a:off x="3573437" y="1995187"/>
            <a:ext cx="1885612" cy="118618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563E93E8-1DE4-43B1-93F8-59F269570D12}"/>
              </a:ext>
            </a:extLst>
          </p:cNvPr>
          <p:cNvSpPr/>
          <p:nvPr/>
        </p:nvSpPr>
        <p:spPr bwMode="auto">
          <a:xfrm>
            <a:off x="3573437" y="3265823"/>
            <a:ext cx="1879442" cy="105281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CA5921CA-6D55-464A-AE73-82896FBC9F4E}"/>
              </a:ext>
            </a:extLst>
          </p:cNvPr>
          <p:cNvSpPr/>
          <p:nvPr/>
        </p:nvSpPr>
        <p:spPr bwMode="auto">
          <a:xfrm>
            <a:off x="5781404" y="2010862"/>
            <a:ext cx="1879442" cy="118618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9B85D7FB-D7FE-477F-8D8F-9EBA3E4E0D61}"/>
              </a:ext>
            </a:extLst>
          </p:cNvPr>
          <p:cNvSpPr/>
          <p:nvPr/>
        </p:nvSpPr>
        <p:spPr bwMode="auto">
          <a:xfrm>
            <a:off x="5781404" y="3281498"/>
            <a:ext cx="1879442" cy="105281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96FE5990-E0DB-43F4-8F6B-0EF6E2BC0EE0}"/>
              </a:ext>
            </a:extLst>
          </p:cNvPr>
          <p:cNvSpPr/>
          <p:nvPr/>
        </p:nvSpPr>
        <p:spPr bwMode="auto">
          <a:xfrm>
            <a:off x="7983201" y="2010862"/>
            <a:ext cx="1891780" cy="118618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C1DF2698-5B5C-4D81-A385-2034369DC544}"/>
              </a:ext>
            </a:extLst>
          </p:cNvPr>
          <p:cNvSpPr/>
          <p:nvPr/>
        </p:nvSpPr>
        <p:spPr bwMode="auto">
          <a:xfrm>
            <a:off x="7983201" y="3281498"/>
            <a:ext cx="1891780" cy="105281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F315D806-6186-4D55-AE72-A41187176853}"/>
              </a:ext>
            </a:extLst>
          </p:cNvPr>
          <p:cNvSpPr/>
          <p:nvPr/>
        </p:nvSpPr>
        <p:spPr bwMode="auto">
          <a:xfrm>
            <a:off x="10197335" y="1995187"/>
            <a:ext cx="1850151" cy="118618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961E1762-9AE7-478A-A976-02731A6484B8}"/>
              </a:ext>
            </a:extLst>
          </p:cNvPr>
          <p:cNvSpPr/>
          <p:nvPr/>
        </p:nvSpPr>
        <p:spPr bwMode="auto">
          <a:xfrm>
            <a:off x="10197335" y="3265823"/>
            <a:ext cx="1850151" cy="105281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11DBDD74-B307-455A-A7F5-F0D16B8E2636}"/>
              </a:ext>
            </a:extLst>
          </p:cNvPr>
          <p:cNvSpPr/>
          <p:nvPr/>
        </p:nvSpPr>
        <p:spPr bwMode="auto">
          <a:xfrm>
            <a:off x="1360507" y="6163854"/>
            <a:ext cx="1932115" cy="5835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L Video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udy x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uidelines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2ADBE9B-CB9B-4FD9-89C4-B482CC71833E}"/>
              </a:ext>
            </a:extLst>
          </p:cNvPr>
          <p:cNvSpPr/>
          <p:nvPr/>
        </p:nvSpPr>
        <p:spPr bwMode="auto">
          <a:xfrm>
            <a:off x="3573437" y="6163854"/>
            <a:ext cx="1925930" cy="5835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573A7A9B-7428-4FA7-8F59-A7B82E01B7A2}"/>
              </a:ext>
            </a:extLst>
          </p:cNvPr>
          <p:cNvSpPr/>
          <p:nvPr/>
        </p:nvSpPr>
        <p:spPr bwMode="auto">
          <a:xfrm>
            <a:off x="5781404" y="6163854"/>
            <a:ext cx="1879442" cy="5835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3AE17446-40E4-4899-A3F9-729A4BD832C2}"/>
              </a:ext>
            </a:extLst>
          </p:cNvPr>
          <p:cNvSpPr/>
          <p:nvPr/>
        </p:nvSpPr>
        <p:spPr bwMode="auto">
          <a:xfrm>
            <a:off x="7983201" y="6163854"/>
            <a:ext cx="1891780" cy="5835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647E155C-AB57-481E-93CE-5B97D23EFD98}"/>
              </a:ext>
            </a:extLst>
          </p:cNvPr>
          <p:cNvSpPr/>
          <p:nvPr/>
        </p:nvSpPr>
        <p:spPr bwMode="auto">
          <a:xfrm>
            <a:off x="10197335" y="6163854"/>
            <a:ext cx="1850151" cy="5835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378DEBAC-CC8E-4C61-BD68-0E204AD26EAD}"/>
              </a:ext>
            </a:extLst>
          </p:cNvPr>
          <p:cNvSpPr txBox="1"/>
          <p:nvPr/>
        </p:nvSpPr>
        <p:spPr>
          <a:xfrm>
            <a:off x="34083" y="6113181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ssage Source</a:t>
            </a:r>
          </a:p>
        </p:txBody>
      </p:sp>
      <p:sp>
        <p:nvSpPr>
          <p:cNvPr id="71" name="Arrow: Up 70">
            <a:extLst>
              <a:ext uri="{FF2B5EF4-FFF2-40B4-BE49-F238E27FC236}">
                <a16:creationId xmlns:a16="http://schemas.microsoft.com/office/drawing/2014/main" id="{90B97B70-6D9A-4DEB-AFE0-6805D77C3373}"/>
              </a:ext>
            </a:extLst>
          </p:cNvPr>
          <p:cNvSpPr/>
          <p:nvPr/>
        </p:nvSpPr>
        <p:spPr>
          <a:xfrm rot="5400000">
            <a:off x="6332799" y="280901"/>
            <a:ext cx="378549" cy="672075"/>
          </a:xfrm>
          <a:prstGeom prst="upArrow">
            <a:avLst/>
          </a:prstGeom>
          <a:gradFill>
            <a:gsLst>
              <a:gs pos="0">
                <a:srgbClr val="7B8C46"/>
              </a:gs>
              <a:gs pos="50000">
                <a:schemeClr val="accent5">
                  <a:lumMod val="40000"/>
                  <a:lumOff val="60000"/>
                </a:schemeClr>
              </a:gs>
              <a:gs pos="75000">
                <a:schemeClr val="accent5">
                  <a:lumMod val="20000"/>
                  <a:lumOff val="8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2FD3F0-3156-C74A-A7D7-CDE2840E1395}"/>
              </a:ext>
            </a:extLst>
          </p:cNvPr>
          <p:cNvSpPr/>
          <p:nvPr/>
        </p:nvSpPr>
        <p:spPr>
          <a:xfrm>
            <a:off x="728679" y="4631659"/>
            <a:ext cx="64298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vrks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3F71D250-0EE8-F04B-AEAA-D8E49BB82813}"/>
              </a:ext>
            </a:extLst>
          </p:cNvPr>
          <p:cNvSpPr/>
          <p:nvPr/>
        </p:nvSpPr>
        <p:spPr bwMode="auto">
          <a:xfrm>
            <a:off x="1369434" y="5066914"/>
            <a:ext cx="1923188" cy="467634"/>
          </a:xfrm>
          <a:prstGeom prst="rect">
            <a:avLst/>
          </a:prstGeom>
          <a:solidFill>
            <a:srgbClr val="008986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1D0197AB-7FFD-D142-96A2-8D70BE1F0F11}"/>
              </a:ext>
            </a:extLst>
          </p:cNvPr>
          <p:cNvSpPr/>
          <p:nvPr/>
        </p:nvSpPr>
        <p:spPr bwMode="auto">
          <a:xfrm>
            <a:off x="1369434" y="5612716"/>
            <a:ext cx="1923188" cy="467634"/>
          </a:xfrm>
          <a:prstGeom prst="rect">
            <a:avLst/>
          </a:prstGeom>
          <a:solidFill>
            <a:srgbClr val="8CA509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D989A992-3EC2-2943-A75B-C4528E6C1E56}"/>
              </a:ext>
            </a:extLst>
          </p:cNvPr>
          <p:cNvSpPr/>
          <p:nvPr/>
        </p:nvSpPr>
        <p:spPr bwMode="auto">
          <a:xfrm>
            <a:off x="3578399" y="4441904"/>
            <a:ext cx="1885612" cy="568982"/>
          </a:xfrm>
          <a:prstGeom prst="rect">
            <a:avLst/>
          </a:prstGeom>
          <a:solidFill>
            <a:srgbClr val="A15699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59FE46D4-9D9A-AD44-A7D0-F83446709D40}"/>
              </a:ext>
            </a:extLst>
          </p:cNvPr>
          <p:cNvSpPr/>
          <p:nvPr/>
        </p:nvSpPr>
        <p:spPr bwMode="auto">
          <a:xfrm>
            <a:off x="3587325" y="5089054"/>
            <a:ext cx="1885612" cy="467634"/>
          </a:xfrm>
          <a:prstGeom prst="rect">
            <a:avLst/>
          </a:prstGeom>
          <a:solidFill>
            <a:srgbClr val="008986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19017727-A759-B144-AF06-06ADD82A9610}"/>
              </a:ext>
            </a:extLst>
          </p:cNvPr>
          <p:cNvSpPr/>
          <p:nvPr/>
        </p:nvSpPr>
        <p:spPr bwMode="auto">
          <a:xfrm>
            <a:off x="3587325" y="5634856"/>
            <a:ext cx="1912042" cy="467634"/>
          </a:xfrm>
          <a:prstGeom prst="rect">
            <a:avLst/>
          </a:prstGeom>
          <a:solidFill>
            <a:srgbClr val="8CA509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186D9EA3-8EAE-0849-9572-8DE758CC2CAC}"/>
              </a:ext>
            </a:extLst>
          </p:cNvPr>
          <p:cNvSpPr/>
          <p:nvPr/>
        </p:nvSpPr>
        <p:spPr bwMode="auto">
          <a:xfrm>
            <a:off x="5796289" y="4441904"/>
            <a:ext cx="1837643" cy="546842"/>
          </a:xfrm>
          <a:prstGeom prst="rect">
            <a:avLst/>
          </a:prstGeom>
          <a:solidFill>
            <a:srgbClr val="A15699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0211AD49-1A4E-114E-92D0-520DA34D4662}"/>
              </a:ext>
            </a:extLst>
          </p:cNvPr>
          <p:cNvSpPr/>
          <p:nvPr/>
        </p:nvSpPr>
        <p:spPr bwMode="auto">
          <a:xfrm>
            <a:off x="5805216" y="5066914"/>
            <a:ext cx="1837643" cy="467634"/>
          </a:xfrm>
          <a:prstGeom prst="rect">
            <a:avLst/>
          </a:prstGeom>
          <a:solidFill>
            <a:srgbClr val="008986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5357B4AA-732A-634C-8C79-93F1EDA62021}"/>
              </a:ext>
            </a:extLst>
          </p:cNvPr>
          <p:cNvSpPr/>
          <p:nvPr/>
        </p:nvSpPr>
        <p:spPr bwMode="auto">
          <a:xfrm>
            <a:off x="5805216" y="5612716"/>
            <a:ext cx="1837643" cy="467634"/>
          </a:xfrm>
          <a:prstGeom prst="rect">
            <a:avLst/>
          </a:prstGeom>
          <a:solidFill>
            <a:srgbClr val="8CA509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05FCBD22-D8A2-3744-AFAF-169BCEF2005E}"/>
              </a:ext>
            </a:extLst>
          </p:cNvPr>
          <p:cNvSpPr/>
          <p:nvPr/>
        </p:nvSpPr>
        <p:spPr bwMode="auto">
          <a:xfrm>
            <a:off x="7988162" y="4440035"/>
            <a:ext cx="1837643" cy="568982"/>
          </a:xfrm>
          <a:prstGeom prst="rect">
            <a:avLst/>
          </a:prstGeom>
          <a:solidFill>
            <a:srgbClr val="A15699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F9C64A49-B03A-064D-BDBF-7AECFC1F197A}"/>
              </a:ext>
            </a:extLst>
          </p:cNvPr>
          <p:cNvSpPr/>
          <p:nvPr/>
        </p:nvSpPr>
        <p:spPr bwMode="auto">
          <a:xfrm>
            <a:off x="7997089" y="5087185"/>
            <a:ext cx="1837643" cy="467634"/>
          </a:xfrm>
          <a:prstGeom prst="rect">
            <a:avLst/>
          </a:prstGeom>
          <a:solidFill>
            <a:srgbClr val="008986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99890E00-9754-6C4B-B7A6-4FAF519C0408}"/>
              </a:ext>
            </a:extLst>
          </p:cNvPr>
          <p:cNvSpPr/>
          <p:nvPr/>
        </p:nvSpPr>
        <p:spPr bwMode="auto">
          <a:xfrm>
            <a:off x="7997089" y="5632987"/>
            <a:ext cx="1837643" cy="467634"/>
          </a:xfrm>
          <a:prstGeom prst="rect">
            <a:avLst/>
          </a:prstGeom>
          <a:solidFill>
            <a:srgbClr val="8CA509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DC99A9D1-4A9C-1946-AABD-3D330F17836D}"/>
              </a:ext>
            </a:extLst>
          </p:cNvPr>
          <p:cNvSpPr/>
          <p:nvPr/>
        </p:nvSpPr>
        <p:spPr bwMode="auto">
          <a:xfrm>
            <a:off x="10202296" y="4451332"/>
            <a:ext cx="1837643" cy="568982"/>
          </a:xfrm>
          <a:prstGeom prst="rect">
            <a:avLst/>
          </a:prstGeom>
          <a:solidFill>
            <a:srgbClr val="A15699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3D32D0B2-58FE-AD43-AF71-A13083D85519}"/>
              </a:ext>
            </a:extLst>
          </p:cNvPr>
          <p:cNvSpPr/>
          <p:nvPr/>
        </p:nvSpPr>
        <p:spPr bwMode="auto">
          <a:xfrm>
            <a:off x="10211223" y="5098482"/>
            <a:ext cx="1837643" cy="467634"/>
          </a:xfrm>
          <a:prstGeom prst="rect">
            <a:avLst/>
          </a:prstGeom>
          <a:solidFill>
            <a:srgbClr val="008986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59514740-8D94-1C4B-B517-1AE2F9687ED8}"/>
              </a:ext>
            </a:extLst>
          </p:cNvPr>
          <p:cNvSpPr/>
          <p:nvPr/>
        </p:nvSpPr>
        <p:spPr bwMode="auto">
          <a:xfrm>
            <a:off x="10211223" y="5644284"/>
            <a:ext cx="1837643" cy="467634"/>
          </a:xfrm>
          <a:prstGeom prst="rect">
            <a:avLst/>
          </a:prstGeom>
          <a:solidFill>
            <a:srgbClr val="8CA509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2FB5819-22EB-8345-8279-6C70CEBB4F10}"/>
              </a:ext>
            </a:extLst>
          </p:cNvPr>
          <p:cNvSpPr/>
          <p:nvPr/>
        </p:nvSpPr>
        <p:spPr>
          <a:xfrm>
            <a:off x="642954" y="5168043"/>
            <a:ext cx="73823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gmt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123F695-8E9F-1345-83EF-931F474B8D1B}"/>
              </a:ext>
            </a:extLst>
          </p:cNvPr>
          <p:cNvSpPr/>
          <p:nvPr/>
        </p:nvSpPr>
        <p:spPr>
          <a:xfrm>
            <a:off x="213421" y="5695167"/>
            <a:ext cx="11582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mpsts</a:t>
            </a:r>
          </a:p>
        </p:txBody>
      </p:sp>
    </p:spTree>
    <p:extLst>
      <p:ext uri="{BB962C8B-B14F-4D97-AF65-F5344CB8AC3E}">
        <p14:creationId xmlns:p14="http://schemas.microsoft.com/office/powerpoint/2010/main" val="230236061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868E05-EFCE-488C-BB5F-FB19C6753A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1304" y="2469609"/>
            <a:ext cx="10810627" cy="1296987"/>
          </a:xfrm>
        </p:spPr>
        <p:txBody>
          <a:bodyPr/>
          <a:lstStyle/>
          <a:p>
            <a:pPr algn="ctr"/>
            <a:r>
              <a:rPr lang="en-GB" dirty="0"/>
              <a:t>Menu page with all slides visualised for easy navigation</a:t>
            </a:r>
          </a:p>
        </p:txBody>
      </p:sp>
    </p:spTree>
    <p:extLst>
      <p:ext uri="{BB962C8B-B14F-4D97-AF65-F5344CB8AC3E}">
        <p14:creationId xmlns:p14="http://schemas.microsoft.com/office/powerpoint/2010/main" val="4244871606"/>
      </p:ext>
    </p:extLst>
  </p:cSld>
  <p:clrMapOvr>
    <a:masterClrMapping/>
  </p:clrMapOvr>
  <p:transition>
    <p:wipe dir="d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DE226D76-DFDC-493D-BC2A-95A0A748F140}"/>
              </a:ext>
            </a:extLst>
          </p:cNvPr>
          <p:cNvSpPr txBox="1"/>
          <p:nvPr/>
        </p:nvSpPr>
        <p:spPr>
          <a:xfrm>
            <a:off x="0" y="342781"/>
            <a:ext cx="6096000" cy="347769"/>
          </a:xfrm>
          <a:prstGeom prst="rect">
            <a:avLst/>
          </a:prstGeom>
          <a:solidFill>
            <a:srgbClr val="585858"/>
          </a:solidFill>
        </p:spPr>
        <p:txBody>
          <a:bodyPr wrap="square" tIns="36000" bIns="3600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1 - Unmet Need </a:t>
            </a:r>
            <a:r>
              <a: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Uses a wide variety of treatments 1</a:t>
            </a:r>
            <a:r>
              <a:rPr kumimoji="0" lang="en-GB" sz="1050" b="0" i="0" u="none" strike="noStrike" kern="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st</a:t>
            </a:r>
            <a:r>
              <a: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 line, including JAK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CE7C206-623B-4EC4-A2AB-386E2D02627B}"/>
              </a:ext>
            </a:extLst>
          </p:cNvPr>
          <p:cNvSpPr txBox="1"/>
          <p:nvPr/>
        </p:nvSpPr>
        <p:spPr>
          <a:xfrm>
            <a:off x="6096000" y="342781"/>
            <a:ext cx="6096000" cy="347769"/>
          </a:xfrm>
          <a:prstGeom prst="rect">
            <a:avLst/>
          </a:prstGeom>
          <a:solidFill>
            <a:srgbClr val="C1B29C"/>
          </a:solidFill>
        </p:spPr>
        <p:txBody>
          <a:bodyPr wrap="square" tIns="36000" bIns="36000" rtlCol="0" anchor="ctr" anchorCtr="0">
            <a:noAutofit/>
          </a:bodyPr>
          <a:lstStyle>
            <a:defPPr>
              <a:defRPr lang="en-US"/>
            </a:defPPr>
            <a:lvl1pPr marR="0" lvl="0" indent="0" algn="ct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900" b="0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2 - Research</a:t>
            </a: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: Uses a wide variety of treatments 1st line, including JAK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0D9D066-2FC7-4081-9876-23A13E2FFEC1}"/>
              </a:ext>
            </a:extLst>
          </p:cNvPr>
          <p:cNvSpPr txBox="1"/>
          <p:nvPr/>
        </p:nvSpPr>
        <p:spPr>
          <a:xfrm>
            <a:off x="1171404" y="724106"/>
            <a:ext cx="984919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Galapagos Goal: </a:t>
            </a: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Insert the Galapagos goal from the current adoption stage her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EF9AF84-5726-40D1-ADC3-7A2A5FC3C1FA}"/>
              </a:ext>
            </a:extLst>
          </p:cNvPr>
          <p:cNvSpPr txBox="1"/>
          <p:nvPr/>
        </p:nvSpPr>
        <p:spPr>
          <a:xfrm>
            <a:off x="1171404" y="941659"/>
            <a:ext cx="984919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Adoption Stage Barrier: </a:t>
            </a: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Insert Galapagos the barrier for the current adoption stage her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697FD9D-49DE-47A0-9A2D-09BEB025AACA}"/>
              </a:ext>
            </a:extLst>
          </p:cNvPr>
          <p:cNvSpPr txBox="1"/>
          <p:nvPr/>
        </p:nvSpPr>
        <p:spPr>
          <a:xfrm>
            <a:off x="0" y="0"/>
            <a:ext cx="6096000" cy="347769"/>
          </a:xfrm>
          <a:prstGeom prst="rect">
            <a:avLst/>
          </a:prstGeom>
          <a:solidFill>
            <a:srgbClr val="585858"/>
          </a:solidFill>
        </p:spPr>
        <p:txBody>
          <a:bodyPr wrap="square" tIns="36000" bIns="3600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Journey</a:t>
            </a:r>
            <a:endParaRPr kumimoji="0" lang="en-GB" sz="105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ＭＳ Ｐゴシック" pitchFamily="-1" charset="-128"/>
              <a:cs typeface="Arial" panose="020B0604020202020204" pitchFamily="34" charset="0"/>
            </a:endParaRPr>
          </a:p>
        </p:txBody>
      </p:sp>
      <p:pic>
        <p:nvPicPr>
          <p:cNvPr id="15" name="Picture 14" descr="A picture containing clock, drawing, room&#10;&#10;Description automatically generated">
            <a:extLst>
              <a:ext uri="{FF2B5EF4-FFF2-40B4-BE49-F238E27FC236}">
                <a16:creationId xmlns:a16="http://schemas.microsoft.com/office/drawing/2014/main" id="{197CB2C7-0C9B-42E2-8F15-003B9D74C01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537" y="18912"/>
            <a:ext cx="346064" cy="346064"/>
          </a:xfrm>
          <a:prstGeom prst="rect">
            <a:avLst/>
          </a:prstGeom>
          <a:ln>
            <a:noFill/>
          </a:ln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9F07A1A9-AEB7-4965-861A-C08513ADA4D1}"/>
              </a:ext>
            </a:extLst>
          </p:cNvPr>
          <p:cNvSpPr txBox="1"/>
          <p:nvPr/>
        </p:nvSpPr>
        <p:spPr>
          <a:xfrm>
            <a:off x="6096000" y="0"/>
            <a:ext cx="6096000" cy="347769"/>
          </a:xfrm>
          <a:prstGeom prst="rect">
            <a:avLst/>
          </a:prstGeom>
          <a:solidFill>
            <a:srgbClr val="585858"/>
          </a:solidFill>
        </p:spPr>
        <p:txBody>
          <a:bodyPr wrap="square" tIns="36000" bIns="3600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Scenario 1</a:t>
            </a:r>
            <a:endParaRPr kumimoji="0" lang="en-GB" sz="1050" b="0" i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ＭＳ Ｐゴシック" pitchFamily="-1" charset="-128"/>
              <a:cs typeface="Arial" panose="020B0604020202020204" pitchFamily="34" charset="0"/>
            </a:endParaRPr>
          </a:p>
        </p:txBody>
      </p:sp>
      <p:pic>
        <p:nvPicPr>
          <p:cNvPr id="19" name="Picture 18" descr="Icon&#10;&#10;Description automatically generated">
            <a:extLst>
              <a:ext uri="{FF2B5EF4-FFF2-40B4-BE49-F238E27FC236}">
                <a16:creationId xmlns:a16="http://schemas.microsoft.com/office/drawing/2014/main" id="{1FAD771E-8F4B-4C0B-B124-EF3D16E3624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3109" y="23295"/>
            <a:ext cx="350670" cy="350670"/>
          </a:xfrm>
          <a:prstGeom prst="rect">
            <a:avLst/>
          </a:prstGeom>
        </p:spPr>
      </p:pic>
      <p:sp>
        <p:nvSpPr>
          <p:cNvPr id="20" name="Arrow: Right 19">
            <a:extLst>
              <a:ext uri="{FF2B5EF4-FFF2-40B4-BE49-F238E27FC236}">
                <a16:creationId xmlns:a16="http://schemas.microsoft.com/office/drawing/2014/main" id="{681A9C92-0FC8-46B0-8542-7A7ADC301AB7}"/>
              </a:ext>
            </a:extLst>
          </p:cNvPr>
          <p:cNvSpPr/>
          <p:nvPr/>
        </p:nvSpPr>
        <p:spPr bwMode="auto">
          <a:xfrm>
            <a:off x="5763237" y="373965"/>
            <a:ext cx="478172" cy="293290"/>
          </a:xfrm>
          <a:prstGeom prst="rightArrow">
            <a:avLst/>
          </a:prstGeom>
          <a:solidFill>
            <a:srgbClr val="58585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2" name="Isosceles Triangle 1">
            <a:extLst>
              <a:ext uri="{FF2B5EF4-FFF2-40B4-BE49-F238E27FC236}">
                <a16:creationId xmlns:a16="http://schemas.microsoft.com/office/drawing/2014/main" id="{B846000C-2A2D-4A8B-A061-DBEC204AC798}"/>
              </a:ext>
            </a:extLst>
          </p:cNvPr>
          <p:cNvSpPr/>
          <p:nvPr/>
        </p:nvSpPr>
        <p:spPr bwMode="auto">
          <a:xfrm rot="10800000">
            <a:off x="9558804" y="111370"/>
            <a:ext cx="141942" cy="105354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40" name="Isosceles Triangle 39">
            <a:extLst>
              <a:ext uri="{FF2B5EF4-FFF2-40B4-BE49-F238E27FC236}">
                <a16:creationId xmlns:a16="http://schemas.microsoft.com/office/drawing/2014/main" id="{298C680F-1853-4486-B071-7890E0DCD7CD}"/>
              </a:ext>
            </a:extLst>
          </p:cNvPr>
          <p:cNvSpPr/>
          <p:nvPr/>
        </p:nvSpPr>
        <p:spPr bwMode="auto">
          <a:xfrm rot="10800000">
            <a:off x="3444347" y="111370"/>
            <a:ext cx="141942" cy="105354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41" name="Isosceles Triangle 40">
            <a:extLst>
              <a:ext uri="{FF2B5EF4-FFF2-40B4-BE49-F238E27FC236}">
                <a16:creationId xmlns:a16="http://schemas.microsoft.com/office/drawing/2014/main" id="{7F31D432-20E7-486B-A743-77C8D87EAA4E}"/>
              </a:ext>
            </a:extLst>
          </p:cNvPr>
          <p:cNvSpPr/>
          <p:nvPr/>
        </p:nvSpPr>
        <p:spPr bwMode="auto">
          <a:xfrm rot="10800000">
            <a:off x="5787677" y="475229"/>
            <a:ext cx="141942" cy="105354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42" name="Isosceles Triangle 41">
            <a:extLst>
              <a:ext uri="{FF2B5EF4-FFF2-40B4-BE49-F238E27FC236}">
                <a16:creationId xmlns:a16="http://schemas.microsoft.com/office/drawing/2014/main" id="{FE10F89A-0D01-4BDF-AD1B-BF401069E3F3}"/>
              </a:ext>
            </a:extLst>
          </p:cNvPr>
          <p:cNvSpPr/>
          <p:nvPr/>
        </p:nvSpPr>
        <p:spPr bwMode="auto">
          <a:xfrm rot="10800000">
            <a:off x="11893975" y="466028"/>
            <a:ext cx="141942" cy="105354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pic>
        <p:nvPicPr>
          <p:cNvPr id="18" name="Picture 17" descr="A close up of a sign&#10;&#10;Description automatically generated">
            <a:extLst>
              <a:ext uri="{FF2B5EF4-FFF2-40B4-BE49-F238E27FC236}">
                <a16:creationId xmlns:a16="http://schemas.microsoft.com/office/drawing/2014/main" id="{3C4068C3-4920-4AD6-88A6-14F9632F15E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8283" y="18912"/>
            <a:ext cx="357525" cy="357525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D8444F35-47D9-4B85-AB47-52E1CB40AF2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00490" y="18912"/>
            <a:ext cx="357525" cy="357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28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DE226D76-DFDC-493D-BC2A-95A0A748F140}"/>
              </a:ext>
            </a:extLst>
          </p:cNvPr>
          <p:cNvSpPr txBox="1"/>
          <p:nvPr/>
        </p:nvSpPr>
        <p:spPr>
          <a:xfrm>
            <a:off x="0" y="342781"/>
            <a:ext cx="6096000" cy="347769"/>
          </a:xfrm>
          <a:prstGeom prst="rect">
            <a:avLst/>
          </a:prstGeom>
          <a:solidFill>
            <a:srgbClr val="585858"/>
          </a:solidFill>
        </p:spPr>
        <p:txBody>
          <a:bodyPr wrap="square" tIns="36000" bIns="3600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1 - Unmet Need </a:t>
            </a:r>
            <a:r>
              <a: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Uses a wide variety of treatments 1</a:t>
            </a:r>
            <a:r>
              <a:rPr kumimoji="0" lang="en-GB" sz="1050" b="0" i="0" u="none" strike="noStrike" kern="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st</a:t>
            </a:r>
            <a:r>
              <a: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 line, including JAK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CE7C206-623B-4EC4-A2AB-386E2D02627B}"/>
              </a:ext>
            </a:extLst>
          </p:cNvPr>
          <p:cNvSpPr txBox="1"/>
          <p:nvPr/>
        </p:nvSpPr>
        <p:spPr>
          <a:xfrm>
            <a:off x="6096000" y="342781"/>
            <a:ext cx="6096000" cy="347769"/>
          </a:xfrm>
          <a:prstGeom prst="rect">
            <a:avLst/>
          </a:prstGeom>
          <a:solidFill>
            <a:srgbClr val="C1B29C"/>
          </a:solidFill>
        </p:spPr>
        <p:txBody>
          <a:bodyPr wrap="square" tIns="36000" bIns="36000" rtlCol="0" anchor="ctr" anchorCtr="0">
            <a:noAutofit/>
          </a:bodyPr>
          <a:lstStyle>
            <a:defPPr>
              <a:defRPr lang="en-US"/>
            </a:defPPr>
            <a:lvl1pPr marR="0" lvl="0" indent="0" algn="ct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900" b="0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2 - Research</a:t>
            </a: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: Uses a wide variety of treatments 1st line, including JAK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0D9D066-2FC7-4081-9876-23A13E2FFEC1}"/>
              </a:ext>
            </a:extLst>
          </p:cNvPr>
          <p:cNvSpPr txBox="1"/>
          <p:nvPr/>
        </p:nvSpPr>
        <p:spPr>
          <a:xfrm>
            <a:off x="1171404" y="724106"/>
            <a:ext cx="984919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Galapagos Goal: </a:t>
            </a: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Insert the Galapagos goal from the current adoption stage her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EF9AF84-5726-40D1-ADC3-7A2A5FC3C1FA}"/>
              </a:ext>
            </a:extLst>
          </p:cNvPr>
          <p:cNvSpPr txBox="1"/>
          <p:nvPr/>
        </p:nvSpPr>
        <p:spPr>
          <a:xfrm>
            <a:off x="1171404" y="941659"/>
            <a:ext cx="984919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Adoption Stage Barrier: </a:t>
            </a: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Insert Galapagos the barrier for the current adoption stage her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697FD9D-49DE-47A0-9A2D-09BEB025AACA}"/>
              </a:ext>
            </a:extLst>
          </p:cNvPr>
          <p:cNvSpPr txBox="1"/>
          <p:nvPr/>
        </p:nvSpPr>
        <p:spPr>
          <a:xfrm>
            <a:off x="0" y="0"/>
            <a:ext cx="6096000" cy="347769"/>
          </a:xfrm>
          <a:prstGeom prst="rect">
            <a:avLst/>
          </a:prstGeom>
          <a:solidFill>
            <a:srgbClr val="585858"/>
          </a:solidFill>
        </p:spPr>
        <p:txBody>
          <a:bodyPr wrap="square" tIns="36000" bIns="3600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Journey</a:t>
            </a:r>
            <a:endParaRPr kumimoji="0" lang="en-GB" sz="105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ＭＳ Ｐゴシック" pitchFamily="-1" charset="-128"/>
              <a:cs typeface="Arial" panose="020B0604020202020204" pitchFamily="34" charset="0"/>
            </a:endParaRPr>
          </a:p>
        </p:txBody>
      </p:sp>
      <p:pic>
        <p:nvPicPr>
          <p:cNvPr id="15" name="Picture 14" descr="A picture containing clock, drawing, room&#10;&#10;Description automatically generated">
            <a:extLst>
              <a:ext uri="{FF2B5EF4-FFF2-40B4-BE49-F238E27FC236}">
                <a16:creationId xmlns:a16="http://schemas.microsoft.com/office/drawing/2014/main" id="{197CB2C7-0C9B-42E2-8F15-003B9D74C01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537" y="18912"/>
            <a:ext cx="346064" cy="346064"/>
          </a:xfrm>
          <a:prstGeom prst="rect">
            <a:avLst/>
          </a:prstGeom>
          <a:ln>
            <a:noFill/>
          </a:ln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9F07A1A9-AEB7-4965-861A-C08513ADA4D1}"/>
              </a:ext>
            </a:extLst>
          </p:cNvPr>
          <p:cNvSpPr txBox="1"/>
          <p:nvPr/>
        </p:nvSpPr>
        <p:spPr>
          <a:xfrm>
            <a:off x="6096000" y="0"/>
            <a:ext cx="6096000" cy="347769"/>
          </a:xfrm>
          <a:prstGeom prst="rect">
            <a:avLst/>
          </a:prstGeom>
          <a:solidFill>
            <a:srgbClr val="585858"/>
          </a:solidFill>
        </p:spPr>
        <p:txBody>
          <a:bodyPr wrap="square" tIns="36000" bIns="3600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Scenario 1</a:t>
            </a:r>
            <a:endParaRPr kumimoji="0" lang="en-GB" sz="1050" b="0" i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ＭＳ Ｐゴシック" pitchFamily="-1" charset="-128"/>
              <a:cs typeface="Arial" panose="020B0604020202020204" pitchFamily="34" charset="0"/>
            </a:endParaRPr>
          </a:p>
        </p:txBody>
      </p:sp>
      <p:pic>
        <p:nvPicPr>
          <p:cNvPr id="19" name="Picture 18" descr="Icon&#10;&#10;Description automatically generated">
            <a:extLst>
              <a:ext uri="{FF2B5EF4-FFF2-40B4-BE49-F238E27FC236}">
                <a16:creationId xmlns:a16="http://schemas.microsoft.com/office/drawing/2014/main" id="{1FAD771E-8F4B-4C0B-B124-EF3D16E3624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3109" y="23295"/>
            <a:ext cx="350670" cy="350670"/>
          </a:xfrm>
          <a:prstGeom prst="rect">
            <a:avLst/>
          </a:prstGeom>
        </p:spPr>
      </p:pic>
      <p:sp>
        <p:nvSpPr>
          <p:cNvPr id="20" name="Arrow: Right 19">
            <a:extLst>
              <a:ext uri="{FF2B5EF4-FFF2-40B4-BE49-F238E27FC236}">
                <a16:creationId xmlns:a16="http://schemas.microsoft.com/office/drawing/2014/main" id="{681A9C92-0FC8-46B0-8542-7A7ADC301AB7}"/>
              </a:ext>
            </a:extLst>
          </p:cNvPr>
          <p:cNvSpPr/>
          <p:nvPr/>
        </p:nvSpPr>
        <p:spPr bwMode="auto">
          <a:xfrm>
            <a:off x="5763237" y="373965"/>
            <a:ext cx="478172" cy="293290"/>
          </a:xfrm>
          <a:prstGeom prst="rightArrow">
            <a:avLst/>
          </a:prstGeom>
          <a:solidFill>
            <a:srgbClr val="58585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2" name="Isosceles Triangle 1">
            <a:extLst>
              <a:ext uri="{FF2B5EF4-FFF2-40B4-BE49-F238E27FC236}">
                <a16:creationId xmlns:a16="http://schemas.microsoft.com/office/drawing/2014/main" id="{B846000C-2A2D-4A8B-A061-DBEC204AC798}"/>
              </a:ext>
            </a:extLst>
          </p:cNvPr>
          <p:cNvSpPr/>
          <p:nvPr/>
        </p:nvSpPr>
        <p:spPr bwMode="auto">
          <a:xfrm rot="10800000">
            <a:off x="9558804" y="111370"/>
            <a:ext cx="141942" cy="105354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0" name="Isosceles Triangle 39">
            <a:extLst>
              <a:ext uri="{FF2B5EF4-FFF2-40B4-BE49-F238E27FC236}">
                <a16:creationId xmlns:a16="http://schemas.microsoft.com/office/drawing/2014/main" id="{298C680F-1853-4486-B071-7890E0DCD7CD}"/>
              </a:ext>
            </a:extLst>
          </p:cNvPr>
          <p:cNvSpPr/>
          <p:nvPr/>
        </p:nvSpPr>
        <p:spPr bwMode="auto">
          <a:xfrm rot="10800000">
            <a:off x="3444347" y="111370"/>
            <a:ext cx="141942" cy="105354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1" name="Isosceles Triangle 40">
            <a:extLst>
              <a:ext uri="{FF2B5EF4-FFF2-40B4-BE49-F238E27FC236}">
                <a16:creationId xmlns:a16="http://schemas.microsoft.com/office/drawing/2014/main" id="{7F31D432-20E7-486B-A743-77C8D87EAA4E}"/>
              </a:ext>
            </a:extLst>
          </p:cNvPr>
          <p:cNvSpPr/>
          <p:nvPr/>
        </p:nvSpPr>
        <p:spPr bwMode="auto">
          <a:xfrm rot="10800000">
            <a:off x="5787677" y="475229"/>
            <a:ext cx="141942" cy="105354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2" name="Isosceles Triangle 41">
            <a:extLst>
              <a:ext uri="{FF2B5EF4-FFF2-40B4-BE49-F238E27FC236}">
                <a16:creationId xmlns:a16="http://schemas.microsoft.com/office/drawing/2014/main" id="{FE10F89A-0D01-4BDF-AD1B-BF401069E3F3}"/>
              </a:ext>
            </a:extLst>
          </p:cNvPr>
          <p:cNvSpPr/>
          <p:nvPr/>
        </p:nvSpPr>
        <p:spPr bwMode="auto">
          <a:xfrm rot="10800000">
            <a:off x="11893975" y="466028"/>
            <a:ext cx="141942" cy="105354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pic>
        <p:nvPicPr>
          <p:cNvPr id="18" name="Picture 17" descr="A close up of a sign&#10;&#10;Description automatically generated">
            <a:extLst>
              <a:ext uri="{FF2B5EF4-FFF2-40B4-BE49-F238E27FC236}">
                <a16:creationId xmlns:a16="http://schemas.microsoft.com/office/drawing/2014/main" id="{3C4068C3-4920-4AD6-88A6-14F9632F15E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8283" y="18912"/>
            <a:ext cx="357525" cy="357525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D8444F35-47D9-4B85-AB47-52E1CB40AF2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00490" y="18912"/>
            <a:ext cx="357525" cy="357525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3B7071F0-397D-423E-AA91-6F323926FCC0}"/>
              </a:ext>
            </a:extLst>
          </p:cNvPr>
          <p:cNvSpPr/>
          <p:nvPr/>
        </p:nvSpPr>
        <p:spPr bwMode="auto">
          <a:xfrm>
            <a:off x="8389" y="1644242"/>
            <a:ext cx="1686187" cy="152679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8AEE83A-D614-4501-839A-20D5A4C21CEB}"/>
              </a:ext>
            </a:extLst>
          </p:cNvPr>
          <p:cNvSpPr/>
          <p:nvPr/>
        </p:nvSpPr>
        <p:spPr bwMode="auto">
          <a:xfrm>
            <a:off x="8389" y="1413411"/>
            <a:ext cx="1686187" cy="230832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1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Tahoma" pitchFamily="-107" charset="0"/>
              </a:rPr>
              <a:t>VAE</a:t>
            </a:r>
            <a:endParaRPr kumimoji="0" lang="en-GB" sz="24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ahoma" pitchFamily="-107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0571858-6C58-4AA8-B42E-61A9DACDBAB0}"/>
              </a:ext>
            </a:extLst>
          </p:cNvPr>
          <p:cNvSpPr/>
          <p:nvPr/>
        </p:nvSpPr>
        <p:spPr bwMode="auto">
          <a:xfrm>
            <a:off x="8389" y="3171039"/>
            <a:ext cx="1686187" cy="230832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6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Tahoma" pitchFamily="-107" charset="0"/>
              </a:rPr>
              <a:t>KPIs – 40 % Open Rate | 25% CTR</a:t>
            </a:r>
            <a:endParaRPr kumimoji="0" lang="en-GB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ahoma" pitchFamily="-107" charset="0"/>
            </a:endParaRP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DE3BC18E-C376-4D3A-A7AD-9F05462915C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794" y="2699287"/>
            <a:ext cx="1088775" cy="438388"/>
          </a:xfrm>
          <a:prstGeom prst="rect">
            <a:avLst/>
          </a:prstGeom>
        </p:spPr>
      </p:pic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AABB3B33-A482-4D08-9088-ADF377302FA8}"/>
              </a:ext>
            </a:extLst>
          </p:cNvPr>
          <p:cNvCxnSpPr/>
          <p:nvPr/>
        </p:nvCxnSpPr>
        <p:spPr bwMode="auto">
          <a:xfrm>
            <a:off x="8389" y="2635250"/>
            <a:ext cx="1686187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27" name="Rectangle 26">
            <a:hlinkClick r:id="rId7"/>
            <a:extLst>
              <a:ext uri="{FF2B5EF4-FFF2-40B4-BE49-F238E27FC236}">
                <a16:creationId xmlns:a16="http://schemas.microsoft.com/office/drawing/2014/main" id="{6D4C932E-B4D4-4127-9A1D-7AF0F4892FFA}"/>
              </a:ext>
            </a:extLst>
          </p:cNvPr>
          <p:cNvSpPr/>
          <p:nvPr/>
        </p:nvSpPr>
        <p:spPr bwMode="auto">
          <a:xfrm>
            <a:off x="465244" y="3401871"/>
            <a:ext cx="780046" cy="138283"/>
          </a:xfrm>
          <a:prstGeom prst="rect">
            <a:avLst/>
          </a:prstGeom>
          <a:solidFill>
            <a:schemeClr val="accent5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600" i="0" u="sng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Tahoma" pitchFamily="-107" charset="0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VAE Playbook  </a:t>
            </a:r>
            <a:endParaRPr kumimoji="0" lang="en-GB" sz="600" i="0" u="sng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ahoma" pitchFamily="-107" charset="0"/>
            </a:endParaRPr>
          </a:p>
        </p:txBody>
      </p:sp>
      <p:pic>
        <p:nvPicPr>
          <p:cNvPr id="28" name="Graphic 27" descr="Cursor with solid fill">
            <a:extLst>
              <a:ext uri="{FF2B5EF4-FFF2-40B4-BE49-F238E27FC236}">
                <a16:creationId xmlns:a16="http://schemas.microsoft.com/office/drawing/2014/main" id="{D57214CA-F5CB-444A-A276-8BFBDC5DF7C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69282" y="3399603"/>
            <a:ext cx="128044" cy="128044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EAAD80F0-C88E-4D90-83E3-AB9FE4A2DBFD}"/>
              </a:ext>
            </a:extLst>
          </p:cNvPr>
          <p:cNvSpPr txBox="1"/>
          <p:nvPr/>
        </p:nvSpPr>
        <p:spPr>
          <a:xfrm>
            <a:off x="78436" y="1737412"/>
            <a:ext cx="154609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chemeClr val="tx2"/>
              </a:buClr>
            </a:pPr>
            <a:r>
              <a:rPr lang="en-GB" sz="1000" b="1" dirty="0"/>
              <a:t>Goal of Interaction</a:t>
            </a:r>
          </a:p>
          <a:p>
            <a:pPr>
              <a:buClr>
                <a:schemeClr val="tx2"/>
              </a:buClr>
            </a:pPr>
            <a:endParaRPr lang="en-GB" sz="1000" dirty="0"/>
          </a:p>
          <a:p>
            <a:pPr marL="108000" indent="-10800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sz="1000" dirty="0"/>
              <a:t>Email Message / theme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3E098726-E0A4-4EB0-AE17-2F5C1BCB874F}"/>
              </a:ext>
            </a:extLst>
          </p:cNvPr>
          <p:cNvSpPr/>
          <p:nvPr/>
        </p:nvSpPr>
        <p:spPr bwMode="auto">
          <a:xfrm>
            <a:off x="1176480" y="2699287"/>
            <a:ext cx="495171" cy="439374"/>
          </a:xfrm>
          <a:prstGeom prst="rect">
            <a:avLst/>
          </a:prstGeom>
          <a:solidFill>
            <a:schemeClr val="accent5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b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600" u="sng" dirty="0">
                <a:solidFill>
                  <a:schemeClr val="bg1"/>
                </a:solidFill>
                <a:latin typeface="Tahoma" pitchFamily="-107" charset="0"/>
              </a:rPr>
              <a:t>Link to Content</a:t>
            </a:r>
          </a:p>
        </p:txBody>
      </p:sp>
      <p:pic>
        <p:nvPicPr>
          <p:cNvPr id="31" name="Graphic 30" descr="Rope Knot with solid fill">
            <a:extLst>
              <a:ext uri="{FF2B5EF4-FFF2-40B4-BE49-F238E27FC236}">
                <a16:creationId xmlns:a16="http://schemas.microsoft.com/office/drawing/2014/main" id="{968EBF90-1AEB-4F79-9F73-7F6BF3BAC21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340418" y="2745917"/>
            <a:ext cx="149512" cy="149512"/>
          </a:xfrm>
          <a:prstGeom prst="rect">
            <a:avLst/>
          </a:prstGeom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592BA317-F24A-4665-A898-CC648B2F244C}"/>
              </a:ext>
            </a:extLst>
          </p:cNvPr>
          <p:cNvSpPr/>
          <p:nvPr/>
        </p:nvSpPr>
        <p:spPr bwMode="auto">
          <a:xfrm>
            <a:off x="1751981" y="4256217"/>
            <a:ext cx="1686187" cy="152679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70F5FAF5-A333-4337-B056-258779FEA70D}"/>
              </a:ext>
            </a:extLst>
          </p:cNvPr>
          <p:cNvSpPr/>
          <p:nvPr/>
        </p:nvSpPr>
        <p:spPr bwMode="auto">
          <a:xfrm>
            <a:off x="1751981" y="4025386"/>
            <a:ext cx="1686187" cy="230832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100" b="1" dirty="0">
                <a:solidFill>
                  <a:schemeClr val="bg1"/>
                </a:solidFill>
                <a:latin typeface="Tahoma" pitchFamily="-107" charset="0"/>
              </a:rPr>
              <a:t>F2F Visit</a:t>
            </a:r>
            <a:endParaRPr kumimoji="0" lang="en-GB" sz="24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ahoma" pitchFamily="-107" charset="0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1964EC5E-1773-483F-9FF3-CD437AFD5AD7}"/>
              </a:ext>
            </a:extLst>
          </p:cNvPr>
          <p:cNvSpPr/>
          <p:nvPr/>
        </p:nvSpPr>
        <p:spPr bwMode="auto">
          <a:xfrm>
            <a:off x="1751981" y="5783014"/>
            <a:ext cx="1686187" cy="230832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6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Tahoma" pitchFamily="-107" charset="0"/>
              </a:rPr>
              <a:t>KPIs – Call length| Content Reaction</a:t>
            </a:r>
            <a:endParaRPr kumimoji="0" lang="en-GB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ahoma" pitchFamily="-107" charset="0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19D3476E-522F-4439-94C5-57781AF2745D}"/>
              </a:ext>
            </a:extLst>
          </p:cNvPr>
          <p:cNvCxnSpPr/>
          <p:nvPr/>
        </p:nvCxnSpPr>
        <p:spPr bwMode="auto">
          <a:xfrm>
            <a:off x="1751981" y="5247225"/>
            <a:ext cx="1686187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36" name="Rectangle 35">
            <a:hlinkClick r:id="rId7"/>
            <a:extLst>
              <a:ext uri="{FF2B5EF4-FFF2-40B4-BE49-F238E27FC236}">
                <a16:creationId xmlns:a16="http://schemas.microsoft.com/office/drawing/2014/main" id="{9BC84EA9-C182-4924-8B4C-40339FA38445}"/>
              </a:ext>
            </a:extLst>
          </p:cNvPr>
          <p:cNvSpPr/>
          <p:nvPr/>
        </p:nvSpPr>
        <p:spPr bwMode="auto">
          <a:xfrm>
            <a:off x="2208836" y="6013846"/>
            <a:ext cx="780046" cy="138283"/>
          </a:xfrm>
          <a:prstGeom prst="rect">
            <a:avLst/>
          </a:prstGeom>
          <a:solidFill>
            <a:schemeClr val="accent5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600" i="0" u="sng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Tahoma" pitchFamily="-107" charset="0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CLM Playbook  </a:t>
            </a:r>
            <a:endParaRPr kumimoji="0" lang="en-GB" sz="600" i="0" u="sng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ahoma" pitchFamily="-107" charset="0"/>
            </a:endParaRPr>
          </a:p>
        </p:txBody>
      </p:sp>
      <p:pic>
        <p:nvPicPr>
          <p:cNvPr id="37" name="Graphic 36" descr="Cursor with solid fill">
            <a:extLst>
              <a:ext uri="{FF2B5EF4-FFF2-40B4-BE49-F238E27FC236}">
                <a16:creationId xmlns:a16="http://schemas.microsoft.com/office/drawing/2014/main" id="{666FDFBE-2B4D-4469-98FB-D3BDE550639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812874" y="6011578"/>
            <a:ext cx="128044" cy="128044"/>
          </a:xfrm>
          <a:prstGeom prst="rect">
            <a:avLst/>
          </a:prstGeom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A02E75DC-7A65-422D-AC3B-AD6D64547F9F}"/>
              </a:ext>
            </a:extLst>
          </p:cNvPr>
          <p:cNvSpPr txBox="1"/>
          <p:nvPr/>
        </p:nvSpPr>
        <p:spPr>
          <a:xfrm>
            <a:off x="1822028" y="4349387"/>
            <a:ext cx="154609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chemeClr val="tx2"/>
              </a:buClr>
            </a:pPr>
            <a:r>
              <a:rPr lang="en-GB" sz="1000" b="1" dirty="0"/>
              <a:t>Goal of Interaction</a:t>
            </a:r>
          </a:p>
          <a:p>
            <a:pPr>
              <a:buClr>
                <a:schemeClr val="tx2"/>
              </a:buClr>
            </a:pPr>
            <a:endParaRPr lang="en-GB" sz="1000" dirty="0"/>
          </a:p>
          <a:p>
            <a:pPr marL="108000" indent="-10800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sz="1000" dirty="0"/>
              <a:t>Key Messages to deliver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D501E205-4A6D-4D41-97D4-572DB8582857}"/>
              </a:ext>
            </a:extLst>
          </p:cNvPr>
          <p:cNvSpPr/>
          <p:nvPr/>
        </p:nvSpPr>
        <p:spPr bwMode="auto">
          <a:xfrm>
            <a:off x="2920072" y="5311262"/>
            <a:ext cx="495171" cy="439374"/>
          </a:xfrm>
          <a:prstGeom prst="rect">
            <a:avLst/>
          </a:prstGeom>
          <a:solidFill>
            <a:schemeClr val="accent5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b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600" u="sng" dirty="0">
                <a:solidFill>
                  <a:schemeClr val="bg1"/>
                </a:solidFill>
                <a:latin typeface="Tahoma" pitchFamily="-107" charset="0"/>
              </a:rPr>
              <a:t>Link to Content</a:t>
            </a:r>
          </a:p>
        </p:txBody>
      </p:sp>
      <p:pic>
        <p:nvPicPr>
          <p:cNvPr id="43" name="Graphic 42" descr="Rope Knot with solid fill">
            <a:extLst>
              <a:ext uri="{FF2B5EF4-FFF2-40B4-BE49-F238E27FC236}">
                <a16:creationId xmlns:a16="http://schemas.microsoft.com/office/drawing/2014/main" id="{7A7F9D74-00B4-4E7D-AA00-11925ADB00B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084010" y="5357892"/>
            <a:ext cx="149512" cy="149512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8196FDBE-0208-4E5A-A63A-C0078900183F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964243" y="5305576"/>
            <a:ext cx="778958" cy="438814"/>
          </a:xfrm>
          <a:prstGeom prst="rect">
            <a:avLst/>
          </a:prstGeom>
        </p:spPr>
      </p:pic>
      <p:cxnSp>
        <p:nvCxnSpPr>
          <p:cNvPr id="45" name="Connector: Elbow 44">
            <a:extLst>
              <a:ext uri="{FF2B5EF4-FFF2-40B4-BE49-F238E27FC236}">
                <a16:creationId xmlns:a16="http://schemas.microsoft.com/office/drawing/2014/main" id="{3BE40ACE-58BD-4C34-A8A4-7BD20329B7BC}"/>
              </a:ext>
            </a:extLst>
          </p:cNvPr>
          <p:cNvCxnSpPr>
            <a:cxnSpLocks/>
            <a:stCxn id="23" idx="3"/>
            <a:endCxn id="33" idx="0"/>
          </p:cNvCxnSpPr>
          <p:nvPr/>
        </p:nvCxnSpPr>
        <p:spPr bwMode="auto">
          <a:xfrm>
            <a:off x="1694576" y="1528827"/>
            <a:ext cx="900499" cy="2496559"/>
          </a:xfrm>
          <a:prstGeom prst="bentConnector2">
            <a:avLst/>
          </a:prstGeom>
          <a:solidFill>
            <a:schemeClr val="accent1"/>
          </a:solidFill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46" name="TextBox 45">
            <a:extLst>
              <a:ext uri="{FF2B5EF4-FFF2-40B4-BE49-F238E27FC236}">
                <a16:creationId xmlns:a16="http://schemas.microsoft.com/office/drawing/2014/main" id="{9A9DA4B9-4CEC-47F4-967B-C0B5A418702D}"/>
              </a:ext>
            </a:extLst>
          </p:cNvPr>
          <p:cNvSpPr txBox="1"/>
          <p:nvPr/>
        </p:nvSpPr>
        <p:spPr>
          <a:xfrm>
            <a:off x="1987180" y="2163498"/>
            <a:ext cx="1210152" cy="83099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sz="800" b="1" dirty="0"/>
              <a:t>Informative links</a:t>
            </a:r>
          </a:p>
          <a:p>
            <a:pPr algn="ctr"/>
            <a:r>
              <a:rPr lang="en-GB" sz="800" u="sng" dirty="0"/>
              <a:t>How</a:t>
            </a:r>
            <a:r>
              <a:rPr lang="en-GB" sz="800" dirty="0"/>
              <a:t> the touchpoints are connected with enough room for some detail, links and more information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1CE63DF-0E50-4ACF-A85F-946E0C249528}"/>
              </a:ext>
            </a:extLst>
          </p:cNvPr>
          <p:cNvSpPr txBox="1"/>
          <p:nvPr/>
        </p:nvSpPr>
        <p:spPr>
          <a:xfrm>
            <a:off x="4102295" y="2055776"/>
            <a:ext cx="7248010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>
                <a:highlight>
                  <a:srgbClr val="FFFF00"/>
                </a:highlight>
                <a:sym typeface="Wingdings" panose="05000000000000000000" pitchFamily="2" charset="2"/>
              </a:rPr>
              <a:t> </a:t>
            </a:r>
            <a:r>
              <a:rPr lang="en-GB" sz="1400" b="1" u="sng" dirty="0">
                <a:highlight>
                  <a:srgbClr val="FFFF00"/>
                </a:highlight>
              </a:rPr>
              <a:t>Too much detail</a:t>
            </a:r>
          </a:p>
          <a:p>
            <a:r>
              <a:rPr lang="en-GB" sz="1400" dirty="0">
                <a:highlight>
                  <a:srgbClr val="FFFF00"/>
                </a:highlight>
              </a:rPr>
              <a:t>Not supposed to be exhaustive</a:t>
            </a:r>
          </a:p>
          <a:p>
            <a:r>
              <a:rPr lang="en-GB" sz="1400" dirty="0">
                <a:highlight>
                  <a:srgbClr val="FFFF00"/>
                </a:highlight>
              </a:rPr>
              <a:t>80 AE fragments – can’t possibly include all these in the journeys – this is illustrative</a:t>
            </a:r>
          </a:p>
          <a:p>
            <a:r>
              <a:rPr lang="en-GB" sz="1400" dirty="0">
                <a:highlight>
                  <a:srgbClr val="FFFF00"/>
                </a:highlight>
              </a:rPr>
              <a:t>10 journeys to capture the </a:t>
            </a:r>
            <a:r>
              <a:rPr lang="en-GB" sz="1400" i="1" dirty="0">
                <a:highlight>
                  <a:srgbClr val="FFFF00"/>
                </a:highlight>
              </a:rPr>
              <a:t>key flows, the must haves, </a:t>
            </a:r>
            <a:endParaRPr lang="en-GB" sz="1400" dirty="0">
              <a:highlight>
                <a:srgbClr val="FFFF00"/>
              </a:highlight>
            </a:endParaRPr>
          </a:p>
          <a:p>
            <a:r>
              <a:rPr lang="en-GB" sz="1400" dirty="0">
                <a:highlight>
                  <a:srgbClr val="FFFF00"/>
                </a:highlight>
              </a:rPr>
              <a:t>Important to demo how the channels </a:t>
            </a:r>
            <a:r>
              <a:rPr lang="en-GB" sz="1400" b="1" dirty="0">
                <a:highlight>
                  <a:srgbClr val="FFFF00"/>
                </a:highlight>
              </a:rPr>
              <a:t>CAN </a:t>
            </a:r>
            <a:r>
              <a:rPr lang="en-GB" sz="1400" dirty="0">
                <a:highlight>
                  <a:srgbClr val="FFFF00"/>
                </a:highlight>
              </a:rPr>
              <a:t>be connected together and fit into a journey</a:t>
            </a:r>
          </a:p>
          <a:p>
            <a:r>
              <a:rPr lang="en-GB" sz="1400" dirty="0">
                <a:highlight>
                  <a:srgbClr val="FFFF00"/>
                </a:highlight>
              </a:rPr>
              <a:t>(sent email doesn’t mean opened or understood)</a:t>
            </a:r>
          </a:p>
          <a:p>
            <a:endParaRPr lang="en-GB" sz="1400" dirty="0">
              <a:highlight>
                <a:srgbClr val="FFFF00"/>
              </a:highlight>
            </a:endParaRPr>
          </a:p>
          <a:p>
            <a:r>
              <a:rPr lang="en-GB" sz="1400" b="1" dirty="0">
                <a:highlight>
                  <a:srgbClr val="FFFF00"/>
                </a:highlight>
              </a:rPr>
              <a:t>Mastery of the basics/key elements for Launch – core channel execution </a:t>
            </a:r>
            <a:r>
              <a:rPr lang="en-GB" sz="1400" dirty="0">
                <a:highlight>
                  <a:srgbClr val="FFFF00"/>
                </a:highlight>
              </a:rPr>
              <a:t>(</a:t>
            </a:r>
            <a:r>
              <a:rPr lang="en-GB" sz="1400" dirty="0" err="1">
                <a:highlight>
                  <a:srgbClr val="FFFF00"/>
                </a:highlight>
              </a:rPr>
              <a:t>eg</a:t>
            </a:r>
            <a:r>
              <a:rPr lang="en-GB" sz="1400" dirty="0">
                <a:highlight>
                  <a:srgbClr val="FFFF00"/>
                </a:highlight>
              </a:rPr>
              <a:t> no </a:t>
            </a:r>
            <a:r>
              <a:rPr lang="en-GB" sz="1400" dirty="0" err="1">
                <a:highlight>
                  <a:srgbClr val="FFFF00"/>
                </a:highlight>
              </a:rPr>
              <a:t>whatsapp</a:t>
            </a:r>
            <a:r>
              <a:rPr lang="en-GB" sz="1400" dirty="0">
                <a:highlight>
                  <a:srgbClr val="FFFF00"/>
                </a:highlight>
              </a:rPr>
              <a:t>) (also visualising what a differentiated campaign would be in these journeys)</a:t>
            </a:r>
          </a:p>
          <a:p>
            <a:endParaRPr lang="en-GB" sz="1400" dirty="0">
              <a:highlight>
                <a:srgbClr val="FFFF00"/>
              </a:highlight>
            </a:endParaRPr>
          </a:p>
          <a:p>
            <a:r>
              <a:rPr lang="en-GB" sz="1400" b="1" u="sng" dirty="0">
                <a:highlight>
                  <a:srgbClr val="FFFF00"/>
                </a:highlight>
              </a:rPr>
              <a:t>ACTION</a:t>
            </a:r>
            <a:r>
              <a:rPr lang="en-GB" sz="1400" dirty="0">
                <a:highlight>
                  <a:srgbClr val="FFFF00"/>
                </a:highlight>
              </a:rPr>
              <a:t>: Show upfront that we’re focusing on the core 10 flows, and what they’re for.</a:t>
            </a:r>
          </a:p>
          <a:p>
            <a:endParaRPr lang="en-GB" sz="1400" dirty="0">
              <a:highlight>
                <a:srgbClr val="FFFF00"/>
              </a:highlight>
            </a:endParaRPr>
          </a:p>
          <a:p>
            <a:pPr marL="285750" indent="-285750">
              <a:buFontTx/>
              <a:buChar char="-"/>
            </a:pPr>
            <a:r>
              <a:rPr lang="en-GB" sz="1400" dirty="0">
                <a:highlight>
                  <a:srgbClr val="FFFF00"/>
                </a:highlight>
              </a:rPr>
              <a:t>What is intent of AE? </a:t>
            </a:r>
            <a:r>
              <a:rPr lang="en-GB" sz="1400" u="sng" dirty="0">
                <a:highlight>
                  <a:srgbClr val="FFFF00"/>
                </a:highlight>
              </a:rPr>
              <a:t>Demonstrate this in the journeys</a:t>
            </a:r>
          </a:p>
          <a:p>
            <a:pPr marL="285750" indent="-285750">
              <a:buFontTx/>
              <a:buChar char="-"/>
            </a:pPr>
            <a:endParaRPr lang="en-GB" sz="1400" u="sng" dirty="0">
              <a:highlight>
                <a:srgbClr val="FFFF00"/>
              </a:highlight>
            </a:endParaRPr>
          </a:p>
          <a:p>
            <a:endParaRPr lang="en-GB" sz="1400" dirty="0">
              <a:highlight>
                <a:srgbClr val="FFFF00"/>
              </a:highlight>
            </a:endParaRPr>
          </a:p>
          <a:p>
            <a:r>
              <a:rPr lang="en-GB" sz="1400" dirty="0">
                <a:highlight>
                  <a:srgbClr val="FFFF00"/>
                </a:highlight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50221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alapagos_template_Basic">
  <a:themeElements>
    <a:clrScheme name="GALAPAGOS_Basic Deck">
      <a:dk1>
        <a:srgbClr val="000000"/>
      </a:dk1>
      <a:lt1>
        <a:sysClr val="window" lastClr="FFFFFF"/>
      </a:lt1>
      <a:dk2>
        <a:srgbClr val="00463E"/>
      </a:dk2>
      <a:lt2>
        <a:srgbClr val="808080"/>
      </a:lt2>
      <a:accent1>
        <a:srgbClr val="F58800"/>
      </a:accent1>
      <a:accent2>
        <a:srgbClr val="00463E"/>
      </a:accent2>
      <a:accent3>
        <a:srgbClr val="54A0E0"/>
      </a:accent3>
      <a:accent4>
        <a:srgbClr val="808080"/>
      </a:accent4>
      <a:accent5>
        <a:srgbClr val="F8AC40"/>
      </a:accent5>
      <a:accent6>
        <a:srgbClr val="3D6960"/>
      </a:accent6>
      <a:hlink>
        <a:srgbClr val="54A0E0"/>
      </a:hlink>
      <a:folHlink>
        <a:srgbClr val="808080"/>
      </a:folHlink>
    </a:clrScheme>
    <a:fontScheme name="GLPGtemplate2008_confid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ahoma" pitchFamily="-107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ahoma" pitchFamily="-107" charset="0"/>
          </a:defRPr>
        </a:defPPr>
      </a:lstStyle>
    </a:lnDef>
  </a:objectDefaults>
  <a:extraClrSchemeLst>
    <a:extraClrScheme>
      <a:clrScheme name="GLPGtemplate2008_confid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LPGtemplate2008_confid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8">
        <a:dk1>
          <a:srgbClr val="000000"/>
        </a:dk1>
        <a:lt1>
          <a:srgbClr val="FFFFFF"/>
        </a:lt1>
        <a:dk2>
          <a:srgbClr val="015C55"/>
        </a:dk2>
        <a:lt2>
          <a:srgbClr val="808080"/>
        </a:lt2>
        <a:accent1>
          <a:srgbClr val="DF6C00"/>
        </a:accent1>
        <a:accent2>
          <a:srgbClr val="015C55"/>
        </a:accent2>
        <a:accent3>
          <a:srgbClr val="FFFFFF"/>
        </a:accent3>
        <a:accent4>
          <a:srgbClr val="000000"/>
        </a:accent4>
        <a:accent5>
          <a:srgbClr val="ECBAAA"/>
        </a:accent5>
        <a:accent6>
          <a:srgbClr val="01534C"/>
        </a:accent6>
        <a:hlink>
          <a:srgbClr val="99CCFF"/>
        </a:hlink>
        <a:folHlink>
          <a:srgbClr val="808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owerPointTemplate_2019_Confidential.pptx [Read-Only]" id="{82F71833-905D-439F-96D6-B9556E8C00EF}" vid="{8CFD8E06-D04D-4387-9277-E41FC907AB72}"/>
    </a:ext>
  </a:extLst>
</a:theme>
</file>

<file path=ppt/theme/theme2.xml><?xml version="1.0" encoding="utf-8"?>
<a:theme xmlns:a="http://schemas.openxmlformats.org/drawingml/2006/main" name="1_Galapagos_template_Basic">
  <a:themeElements>
    <a:clrScheme name="GALAPAGOS_Basic Deck">
      <a:dk1>
        <a:srgbClr val="000000"/>
      </a:dk1>
      <a:lt1>
        <a:sysClr val="window" lastClr="FFFFFF"/>
      </a:lt1>
      <a:dk2>
        <a:srgbClr val="00463E"/>
      </a:dk2>
      <a:lt2>
        <a:srgbClr val="808080"/>
      </a:lt2>
      <a:accent1>
        <a:srgbClr val="F58800"/>
      </a:accent1>
      <a:accent2>
        <a:srgbClr val="00463E"/>
      </a:accent2>
      <a:accent3>
        <a:srgbClr val="54A0E0"/>
      </a:accent3>
      <a:accent4>
        <a:srgbClr val="808080"/>
      </a:accent4>
      <a:accent5>
        <a:srgbClr val="F8AC40"/>
      </a:accent5>
      <a:accent6>
        <a:srgbClr val="3D6960"/>
      </a:accent6>
      <a:hlink>
        <a:srgbClr val="54A0E0"/>
      </a:hlink>
      <a:folHlink>
        <a:srgbClr val="808080"/>
      </a:folHlink>
    </a:clrScheme>
    <a:fontScheme name="GLPGtemplate2008_confid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ahoma" pitchFamily="-107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ahoma" pitchFamily="-107" charset="0"/>
          </a:defRPr>
        </a:defPPr>
      </a:lstStyle>
    </a:lnDef>
  </a:objectDefaults>
  <a:extraClrSchemeLst>
    <a:extraClrScheme>
      <a:clrScheme name="GLPGtemplate2008_confid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LPGtemplate2008_confid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8">
        <a:dk1>
          <a:srgbClr val="000000"/>
        </a:dk1>
        <a:lt1>
          <a:srgbClr val="FFFFFF"/>
        </a:lt1>
        <a:dk2>
          <a:srgbClr val="015C55"/>
        </a:dk2>
        <a:lt2>
          <a:srgbClr val="808080"/>
        </a:lt2>
        <a:accent1>
          <a:srgbClr val="DF6C00"/>
        </a:accent1>
        <a:accent2>
          <a:srgbClr val="015C55"/>
        </a:accent2>
        <a:accent3>
          <a:srgbClr val="FFFFFF"/>
        </a:accent3>
        <a:accent4>
          <a:srgbClr val="000000"/>
        </a:accent4>
        <a:accent5>
          <a:srgbClr val="ECBAAA"/>
        </a:accent5>
        <a:accent6>
          <a:srgbClr val="01534C"/>
        </a:accent6>
        <a:hlink>
          <a:srgbClr val="99CCFF"/>
        </a:hlink>
        <a:folHlink>
          <a:srgbClr val="808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owerPointTemplate_2019_Confidential.pptx [Read-Only]" id="{82F71833-905D-439F-96D6-B9556E8C00EF}" vid="{8CFD8E06-D04D-4387-9277-E41FC907AB72}"/>
    </a:ext>
  </a:extLst>
</a:theme>
</file>

<file path=ppt/theme/theme3.xml><?xml version="1.0" encoding="utf-8"?>
<a:theme xmlns:a="http://schemas.openxmlformats.org/drawingml/2006/main" name="1_Office Theme">
  <a:themeElements>
    <a:clrScheme name="BRAND X_edit">
      <a:dk1>
        <a:srgbClr val="000000"/>
      </a:dk1>
      <a:lt1>
        <a:srgbClr val="FFFFFF"/>
      </a:lt1>
      <a:dk2>
        <a:srgbClr val="585858"/>
      </a:dk2>
      <a:lt2>
        <a:srgbClr val="F4F4F4"/>
      </a:lt2>
      <a:accent1>
        <a:srgbClr val="005DAB"/>
      </a:accent1>
      <a:accent2>
        <a:srgbClr val="A3C8C8"/>
      </a:accent2>
      <a:accent3>
        <a:srgbClr val="A5A6A5"/>
      </a:accent3>
      <a:accent4>
        <a:srgbClr val="A0B266"/>
      </a:accent4>
      <a:accent5>
        <a:srgbClr val="DEB3A8"/>
      </a:accent5>
      <a:accent6>
        <a:srgbClr val="C1B29C"/>
      </a:accent6>
      <a:hlink>
        <a:srgbClr val="005DAB"/>
      </a:hlink>
      <a:folHlink>
        <a:srgbClr val="A4C8C9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09D17E572A9014CA98EF55A5E8319AA" ma:contentTypeVersion="11" ma:contentTypeDescription="Create a new document." ma:contentTypeScope="" ma:versionID="d6b5e727e98f570f0574fc3565af7e9e">
  <xsd:schema xmlns:xsd="http://www.w3.org/2001/XMLSchema" xmlns:xs="http://www.w3.org/2001/XMLSchema" xmlns:p="http://schemas.microsoft.com/office/2006/metadata/properties" xmlns:ns2="0d8c423f-ad67-45a2-8b05-97a43a5b7821" xmlns:ns3="ead0e857-dec6-4b1e-afd3-48dbfac7dd48" targetNamespace="http://schemas.microsoft.com/office/2006/metadata/properties" ma:root="true" ma:fieldsID="6f3db167e660a116f7b51cc0c02ca9e8" ns2:_="" ns3:_="">
    <xsd:import namespace="0d8c423f-ad67-45a2-8b05-97a43a5b7821"/>
    <xsd:import namespace="ead0e857-dec6-4b1e-afd3-48dbfac7dd4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d8c423f-ad67-45a2-8b05-97a43a5b782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d0e857-dec6-4b1e-afd3-48dbfac7dd48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4E178157-A05A-4363-85D8-5441602EAD96}">
  <ds:schemaRefs>
    <ds:schemaRef ds:uri="0d8c423f-ad67-45a2-8b05-97a43a5b7821"/>
    <ds:schemaRef ds:uri="ead0e857-dec6-4b1e-afd3-48dbfac7dd48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0738D08C-65B5-41D8-90CA-FE2BB0FF740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B067A99-F6C8-4311-8C08-689C14A27C27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98</TotalTime>
  <Words>1257</Words>
  <Application>Microsoft Macintosh PowerPoint</Application>
  <PresentationFormat>Widescreen</PresentationFormat>
  <Paragraphs>205</Paragraphs>
  <Slides>1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9" baseType="lpstr">
      <vt:lpstr>Anodina</vt:lpstr>
      <vt:lpstr>Arial</vt:lpstr>
      <vt:lpstr>Calibri</vt:lpstr>
      <vt:lpstr>Calibri Light</vt:lpstr>
      <vt:lpstr>Tahoma</vt:lpstr>
      <vt:lpstr>Times</vt:lpstr>
      <vt:lpstr>Wingdings</vt:lpstr>
      <vt:lpstr>Galapagos_template_Basic</vt:lpstr>
      <vt:lpstr>1_Galapagos_template_Basic</vt:lpstr>
      <vt:lpstr>1_Office Theme</vt:lpstr>
      <vt:lpstr>think-cell Slide</vt:lpstr>
      <vt:lpstr>PowerPoint Presentation</vt:lpstr>
      <vt:lpstr>PowerPoint Presentation</vt:lpstr>
      <vt:lpstr>Tool Comparison</vt:lpstr>
      <vt:lpstr>PowerPoint Presentation</vt:lpstr>
      <vt:lpstr>The PPT touchpoint principles </vt:lpstr>
      <vt:lpstr>PowerPoint Presentation</vt:lpstr>
      <vt:lpstr>Menu page with all slides visualised for easy navig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ustellence</vt:lpstr>
      <vt:lpstr>PowerPoint Presentation</vt:lpstr>
      <vt:lpstr>Mural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areth Allott</dc:creator>
  <cp:lastModifiedBy>Louisa Peacock</cp:lastModifiedBy>
  <cp:revision>1</cp:revision>
  <dcterms:created xsi:type="dcterms:W3CDTF">2021-03-25T14:35:15Z</dcterms:created>
  <dcterms:modified xsi:type="dcterms:W3CDTF">2021-03-29T18:15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09D17E572A9014CA98EF55A5E8319AA</vt:lpwstr>
  </property>
</Properties>
</file>